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6" r:id="rId1"/>
    <p:sldMasterId id="2147483706" r:id="rId2"/>
    <p:sldMasterId id="2147483799" r:id="rId3"/>
  </p:sldMasterIdLst>
  <p:notesMasterIdLst>
    <p:notesMasterId r:id="rId12"/>
  </p:notesMasterIdLst>
  <p:sldIdLst>
    <p:sldId id="262" r:id="rId4"/>
    <p:sldId id="295" r:id="rId5"/>
    <p:sldId id="303" r:id="rId6"/>
    <p:sldId id="296" r:id="rId7"/>
    <p:sldId id="297" r:id="rId8"/>
    <p:sldId id="301" r:id="rId9"/>
    <p:sldId id="298" r:id="rId10"/>
    <p:sldId id="299" r:id="rId11"/>
  </p:sldIdLst>
  <p:sldSz cx="9144000" cy="6858000" type="screen4x3"/>
  <p:notesSz cx="6858000" cy="9144000"/>
  <p:embeddedFontLst>
    <p:embeddedFont>
      <p:font typeface="Calibri" panose="020F0502020204030204" pitchFamily="34" charset="0"/>
      <p:regular r:id="rId13"/>
      <p:bold r:id="rId14"/>
      <p:italic r:id="rId15"/>
      <p:boldItalic r:id="rId16"/>
    </p:embeddedFont>
    <p:embeddedFont>
      <p:font typeface="Calibri Light" panose="020F0302020204030204" pitchFamily="34" charset="0"/>
      <p:regular r:id="rId17"/>
      <p:italic r:id="rId18"/>
    </p:embeddedFont>
    <p:embeddedFont>
      <p:font typeface="Comic Sans MS" panose="030F0702030302020204" pitchFamily="66" charset="0"/>
      <p:regular r:id="rId19"/>
      <p:bold r:id="rId20"/>
      <p:italic r:id="rId21"/>
      <p:boldItalic r:id="rId22"/>
    </p:embeddedFont>
  </p:embeddedFont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00FF"/>
    <a:srgbClr val="33CC33"/>
    <a:srgbClr val="FF0000"/>
    <a:srgbClr val="00CC00"/>
    <a:srgbClr val="3399FF"/>
    <a:srgbClr val="FF9900"/>
    <a:srgbClr val="FFFF00"/>
    <a:srgbClr val="333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0" autoAdjust="0"/>
    <p:restoredTop sz="78791" autoAdjust="0"/>
  </p:normalViewPr>
  <p:slideViewPr>
    <p:cSldViewPr>
      <p:cViewPr>
        <p:scale>
          <a:sx n="77" d="100"/>
          <a:sy n="77" d="100"/>
        </p:scale>
        <p:origin x="942" y="-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font" Target="fonts/font1.fntdata"/><Relationship Id="rId18" Type="http://schemas.openxmlformats.org/officeDocument/2006/relationships/font" Target="fonts/font6.fntdata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9.fntdata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5.fntdata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4.fntdata"/><Relationship Id="rId20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font" Target="fonts/font3.fntdata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font" Target="fonts/font7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font" Target="fonts/font2.fntdata"/><Relationship Id="rId22" Type="http://schemas.openxmlformats.org/officeDocument/2006/relationships/font" Target="fonts/font10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F8502C-8FC1-4966-BFCE-6EA249421863}" type="datetimeFigureOut">
              <a:rPr lang="en-US" smtClean="0"/>
              <a:t>4/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069F64-CFBF-427A-80B6-799013FDBCAE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194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fr.wikipedia.org/wiki/Armoiries_du_Tchad#cite_note-1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069F64-CFBF-427A-80B6-799013FDBCA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688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dirty="0">
                <a:solidFill>
                  <a:schemeClr val="tx1"/>
                </a:solidFill>
              </a:rPr>
              <a:t>Les actuelles </a:t>
            </a:r>
            <a:r>
              <a:rPr lang="fr-FR" sz="1200" b="1" dirty="0">
                <a:solidFill>
                  <a:schemeClr val="tx1"/>
                </a:solidFill>
              </a:rPr>
              <a:t>armoiries de la république du Tchad</a:t>
            </a:r>
            <a:r>
              <a:rPr lang="fr-FR" sz="1200" dirty="0">
                <a:solidFill>
                  <a:schemeClr val="tx1"/>
                </a:solidFill>
              </a:rPr>
              <a:t> ont été adoptés en 1970</a:t>
            </a:r>
            <a:r>
              <a:rPr lang="fr-FR" sz="1200" baseline="30000" dirty="0">
                <a:solidFill>
                  <a:schemeClr val="tx1"/>
                </a:solidFill>
                <a:hlinkClick r:id="rId3"/>
              </a:rPr>
              <a:t>1</a:t>
            </a:r>
            <a:r>
              <a:rPr lang="fr-FR" sz="1200" dirty="0">
                <a:solidFill>
                  <a:schemeClr val="tx1"/>
                </a:solidFill>
              </a:rPr>
              <a:t>. Elles reprennent les trois couleurs du drapeau du Tchad (bleu, or et rouge).</a:t>
            </a:r>
          </a:p>
          <a:p>
            <a:r>
              <a:rPr lang="fr-FR" sz="1200" dirty="0">
                <a:solidFill>
                  <a:schemeClr val="tx1"/>
                </a:solidFill>
              </a:rPr>
              <a:t>Au centre du blason, on peut voir un écu ornementé de lignes ondulées bleues et jaune</a:t>
            </a:r>
            <a:r>
              <a:rPr lang="fr-FR" sz="1200" baseline="30000" dirty="0">
                <a:solidFill>
                  <a:schemeClr val="tx1"/>
                </a:solidFill>
              </a:rPr>
              <a:t>2</a:t>
            </a:r>
            <a:r>
              <a:rPr lang="fr-FR" sz="1200" dirty="0">
                <a:solidFill>
                  <a:schemeClr val="tx1"/>
                </a:solidFill>
              </a:rPr>
              <a:t>. L'écu est accompagné d'un Soleil levant rouge au-dessus. Les lignes ondulées bleues sur l'écu représentent le lac Tchad</a:t>
            </a:r>
            <a:r>
              <a:rPr lang="fr-FR" sz="1200" baseline="30000" dirty="0">
                <a:solidFill>
                  <a:schemeClr val="tx1"/>
                </a:solidFill>
              </a:rPr>
              <a:t>3</a:t>
            </a:r>
            <a:r>
              <a:rPr lang="fr-FR" sz="1200" dirty="0">
                <a:solidFill>
                  <a:schemeClr val="tx1"/>
                </a:solidFill>
              </a:rPr>
              <a:t>, et le Soleil levant, un nouveau commencement.</a:t>
            </a:r>
          </a:p>
          <a:p>
            <a:r>
              <a:rPr lang="fr-FR" sz="1200" dirty="0">
                <a:solidFill>
                  <a:schemeClr val="tx1"/>
                </a:solidFill>
              </a:rPr>
              <a:t>L'écu est soutenu par un lion et une  chèvre  (ou un addax) dorés : à gauche, la chèvre symbolise la partie nord du pays, montagneuse ; à droite, le lion représente le sud</a:t>
            </a:r>
            <a:r>
              <a:rPr lang="fr-FR" sz="1200" baseline="30000" dirty="0">
                <a:solidFill>
                  <a:schemeClr val="tx1"/>
                </a:solidFill>
              </a:rPr>
              <a:t>4</a:t>
            </a:r>
            <a:r>
              <a:rPr lang="fr-FR" sz="1200" dirty="0">
                <a:solidFill>
                  <a:schemeClr val="tx1"/>
                </a:solidFill>
              </a:rPr>
              <a:t>.</a:t>
            </a:r>
          </a:p>
          <a:p>
            <a:r>
              <a:rPr lang="fr-FR" sz="1200" dirty="0">
                <a:solidFill>
                  <a:schemeClr val="tx1"/>
                </a:solidFill>
              </a:rPr>
              <a:t>Sous l'écu, la médaille de l'ordre national du Tchad surmonte la devise nationale, « Unité - Travail - Progrès »</a:t>
            </a:r>
            <a:r>
              <a:rPr lang="fr-FR" sz="1200" baseline="30000" dirty="0">
                <a:solidFill>
                  <a:schemeClr val="tx1"/>
                </a:solidFill>
              </a:rPr>
              <a:t>3</a:t>
            </a:r>
            <a:r>
              <a:rPr lang="fr-FR" sz="1200" dirty="0">
                <a:solidFill>
                  <a:schemeClr val="tx1"/>
                </a:solidFill>
              </a:rPr>
              <a:t>.</a:t>
            </a:r>
          </a:p>
          <a:p>
            <a:endParaRPr lang="fr-FR" sz="1200" dirty="0">
              <a:solidFill>
                <a:schemeClr val="tx1"/>
              </a:solidFill>
            </a:endParaRPr>
          </a:p>
          <a:p>
            <a:r>
              <a:rPr lang="fr-FR" sz="1200" dirty="0">
                <a:solidFill>
                  <a:schemeClr val="tx1"/>
                </a:solidFill>
              </a:rPr>
              <a:t>Superficie du Tchad = 31 fois la Suisse (41 285 km2)</a:t>
            </a:r>
          </a:p>
          <a:p>
            <a:r>
              <a:rPr lang="fr-FR" sz="1200" dirty="0">
                <a:solidFill>
                  <a:schemeClr val="tx1"/>
                </a:solidFill>
              </a:rPr>
              <a:t>PIB 100 fois moins par habitant que la Suisse (60k$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069F64-CFBF-427A-80B6-799013FDBCA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4146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069F64-CFBF-427A-80B6-799013FDBCA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959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069F64-CFBF-427A-80B6-799013FDBCA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9955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069F64-CFBF-427A-80B6-799013FDBCA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50193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069F64-CFBF-427A-80B6-799013FDBCA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807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hpe.kadanza.com/kadanza/photography/ppt-title-images/#/overview" TargetMode="Externa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with Dark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295143" y="381957"/>
            <a:ext cx="1664059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736" y="1869197"/>
            <a:ext cx="8567666" cy="1905000"/>
          </a:xfrm>
        </p:spPr>
        <p:txBody>
          <a:bodyPr anchor="b"/>
          <a:lstStyle>
            <a:lvl1pPr>
              <a:lnSpc>
                <a:spcPct val="80000"/>
              </a:lnSpc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735" y="4133088"/>
            <a:ext cx="61722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25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735" y="4577983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284736" y="3890957"/>
            <a:ext cx="397712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825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736" y="3262296"/>
            <a:ext cx="6391656" cy="499365"/>
          </a:xfrm>
        </p:spPr>
        <p:txBody>
          <a:bodyPr anchor="b" anchorCtr="0"/>
          <a:lstStyle>
            <a:lvl1pPr marL="164592" indent="-164592">
              <a:defRPr sz="33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56186" y="3989508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409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84736" y="3262296"/>
            <a:ext cx="6391656" cy="499365"/>
          </a:xfrm>
        </p:spPr>
        <p:txBody>
          <a:bodyPr anchor="b" anchorCtr="0"/>
          <a:lstStyle>
            <a:lvl1pPr marL="164592" indent="-164592">
              <a:defRPr sz="3300" cap="none" baseline="0">
                <a:latin typeface="MetricHPE Semibold" panose="020B0703030202060203" pitchFamily="34" charset="0"/>
              </a:defRPr>
            </a:lvl1pPr>
          </a:lstStyle>
          <a:p>
            <a:r>
              <a:rPr lang="en-US" dirty="0"/>
              <a:t>“Click to add quote here. Type quotation marks before and after text.”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56186" y="3989508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31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88826" y="84388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91703" y="1018211"/>
            <a:ext cx="8566547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259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2272" y="776493"/>
            <a:ext cx="856597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5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8826" y="118949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92272" y="1363332"/>
            <a:ext cx="8572500" cy="4732669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252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2272" y="776493"/>
            <a:ext cx="856597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5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88826" y="118949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92272" y="1752066"/>
            <a:ext cx="8572500" cy="4343934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292272" y="1369346"/>
            <a:ext cx="856597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770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288826" y="84388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112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2272" y="776493"/>
            <a:ext cx="856597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5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8826" y="118949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5316042" y="6336078"/>
            <a:ext cx="30861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02142" y="6301812"/>
            <a:ext cx="513258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778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5316042" y="6336078"/>
            <a:ext cx="3086100" cy="22071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8402142" y="6301812"/>
            <a:ext cx="513258" cy="365125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5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9" name="Rectangle 8"/>
          <p:cNvSpPr/>
          <p:nvPr/>
        </p:nvSpPr>
        <p:spPr>
          <a:xfrm>
            <a:off x="288826" y="84388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7"/>
          </p:nvPr>
        </p:nvSpPr>
        <p:spPr>
          <a:xfrm>
            <a:off x="288825" y="1014414"/>
            <a:ext cx="406679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4"/>
          <p:cNvSpPr>
            <a:spLocks noGrp="1"/>
          </p:cNvSpPr>
          <p:nvPr>
            <p:ph sz="quarter" idx="18"/>
          </p:nvPr>
        </p:nvSpPr>
        <p:spPr>
          <a:xfrm>
            <a:off x="4791456" y="1014414"/>
            <a:ext cx="4066794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5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88826" y="84388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2" name="Content Placeholder 14"/>
          <p:cNvSpPr>
            <a:spLocks noGrp="1"/>
          </p:cNvSpPr>
          <p:nvPr>
            <p:ph sz="quarter" idx="17"/>
          </p:nvPr>
        </p:nvSpPr>
        <p:spPr>
          <a:xfrm>
            <a:off x="288825" y="1395414"/>
            <a:ext cx="406679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92272" y="1014413"/>
            <a:ext cx="406334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0"/>
          </p:nvPr>
        </p:nvSpPr>
        <p:spPr>
          <a:xfrm>
            <a:off x="4795511" y="1395414"/>
            <a:ext cx="4066794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798958" y="1014413"/>
            <a:ext cx="406334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007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with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295143" y="381957"/>
            <a:ext cx="1664059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736" y="1869197"/>
            <a:ext cx="8567666" cy="1905000"/>
          </a:xfrm>
        </p:spPr>
        <p:txBody>
          <a:bodyPr anchor="b"/>
          <a:lstStyle>
            <a:lvl1pPr>
              <a:lnSpc>
                <a:spcPct val="80000"/>
              </a:lnSpc>
              <a:defRPr sz="33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284736" y="3890957"/>
            <a:ext cx="397712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735" y="4133088"/>
            <a:ext cx="61722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25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735" y="4577983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24508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Content Placeholder 14"/>
          <p:cNvSpPr>
            <a:spLocks noGrp="1"/>
          </p:cNvSpPr>
          <p:nvPr>
            <p:ph sz="quarter" idx="17"/>
          </p:nvPr>
        </p:nvSpPr>
        <p:spPr>
          <a:xfrm>
            <a:off x="288825" y="1757281"/>
            <a:ext cx="4066794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92272" y="1376280"/>
            <a:ext cx="406334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2272" y="776493"/>
            <a:ext cx="856597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5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88826" y="118949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4791422" y="1376280"/>
            <a:ext cx="406334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  <p:sp>
        <p:nvSpPr>
          <p:cNvPr id="12" name="Content Placeholder 14"/>
          <p:cNvSpPr>
            <a:spLocks noGrp="1"/>
          </p:cNvSpPr>
          <p:nvPr>
            <p:ph sz="quarter" idx="24"/>
          </p:nvPr>
        </p:nvSpPr>
        <p:spPr>
          <a:xfrm>
            <a:off x="4788906" y="1757281"/>
            <a:ext cx="4066794" cy="433872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324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88826" y="84388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7" name="Content Placeholder 14"/>
          <p:cNvSpPr>
            <a:spLocks noGrp="1"/>
          </p:cNvSpPr>
          <p:nvPr>
            <p:ph sz="quarter" idx="17"/>
          </p:nvPr>
        </p:nvSpPr>
        <p:spPr>
          <a:xfrm>
            <a:off x="288825" y="1014414"/>
            <a:ext cx="2647188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4"/>
          <p:cNvSpPr>
            <a:spLocks noGrp="1"/>
          </p:cNvSpPr>
          <p:nvPr>
            <p:ph sz="quarter" idx="18"/>
          </p:nvPr>
        </p:nvSpPr>
        <p:spPr>
          <a:xfrm>
            <a:off x="3251667" y="1014414"/>
            <a:ext cx="2647188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Content Placeholder 14"/>
          <p:cNvSpPr>
            <a:spLocks noGrp="1"/>
          </p:cNvSpPr>
          <p:nvPr>
            <p:ph sz="quarter" idx="19"/>
          </p:nvPr>
        </p:nvSpPr>
        <p:spPr>
          <a:xfrm>
            <a:off x="6213419" y="1014414"/>
            <a:ext cx="2647188" cy="5081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904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88826" y="84388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92272" y="1014413"/>
            <a:ext cx="2643741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13418" y="1014413"/>
            <a:ext cx="264888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7"/>
          </p:nvPr>
        </p:nvSpPr>
        <p:spPr>
          <a:xfrm>
            <a:off x="288825" y="1395414"/>
            <a:ext cx="2647188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18"/>
          </p:nvPr>
        </p:nvSpPr>
        <p:spPr>
          <a:xfrm>
            <a:off x="3251667" y="1395414"/>
            <a:ext cx="2647188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Content Placeholder 14"/>
          <p:cNvSpPr>
            <a:spLocks noGrp="1"/>
          </p:cNvSpPr>
          <p:nvPr>
            <p:ph sz="quarter" idx="22"/>
          </p:nvPr>
        </p:nvSpPr>
        <p:spPr>
          <a:xfrm>
            <a:off x="6213419" y="1395414"/>
            <a:ext cx="2647188" cy="4700587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251667" y="1014413"/>
            <a:ext cx="2643741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9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92272" y="1383214"/>
            <a:ext cx="2643741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6213418" y="1383214"/>
            <a:ext cx="2648886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3" name="Content Placeholder 14"/>
          <p:cNvSpPr>
            <a:spLocks noGrp="1"/>
          </p:cNvSpPr>
          <p:nvPr>
            <p:ph sz="quarter" idx="17"/>
          </p:nvPr>
        </p:nvSpPr>
        <p:spPr>
          <a:xfrm>
            <a:off x="288825" y="1764215"/>
            <a:ext cx="2647188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Content Placeholder 14"/>
          <p:cNvSpPr>
            <a:spLocks noGrp="1"/>
          </p:cNvSpPr>
          <p:nvPr>
            <p:ph sz="quarter" idx="18"/>
          </p:nvPr>
        </p:nvSpPr>
        <p:spPr>
          <a:xfrm>
            <a:off x="3251667" y="1764215"/>
            <a:ext cx="2647188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Content Placeholder 14"/>
          <p:cNvSpPr>
            <a:spLocks noGrp="1"/>
          </p:cNvSpPr>
          <p:nvPr>
            <p:ph sz="quarter" idx="22"/>
          </p:nvPr>
        </p:nvSpPr>
        <p:spPr>
          <a:xfrm>
            <a:off x="6213419" y="1764215"/>
            <a:ext cx="2647188" cy="4331786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251667" y="1383214"/>
            <a:ext cx="2643741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latin typeface="MetricHPE Semibold" panose="020B07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</a:t>
            </a:r>
            <a:r>
              <a:rPr lang="en-US" dirty="0"/>
              <a:t>heading</a:t>
            </a:r>
            <a:endParaRPr dirty="0"/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2272" y="776493"/>
            <a:ext cx="856597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5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288826" y="118949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843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8826" y="84388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291704" y="1018211"/>
            <a:ext cx="5897880" cy="5077790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6496078" y="1017722"/>
            <a:ext cx="2362172" cy="5078278"/>
          </a:xfrm>
          <a:noFill/>
          <a:ln w="57150">
            <a:solidFill>
              <a:srgbClr val="32DAC8"/>
            </a:solidFill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675"/>
              </a:spcBef>
              <a:buNone/>
              <a:defRPr sz="1500">
                <a:latin typeface="MetricHPE Light" panose="020B0303030202060203" pitchFamily="34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303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8826" y="84388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6086476" y="1017722"/>
            <a:ext cx="2771775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675"/>
              </a:spcBef>
              <a:buNone/>
              <a:defRPr sz="1500">
                <a:latin typeface="MetricHPE Light" panose="020B0303030202060203" pitchFamily="34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285750" y="1017588"/>
            <a:ext cx="5602986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503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8826" y="84388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6086476" y="1017722"/>
            <a:ext cx="2771775" cy="5078278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>
              <a:spcBef>
                <a:spcPts val="675"/>
              </a:spcBef>
              <a:buNone/>
              <a:defRPr sz="1500">
                <a:latin typeface="MetricHPE Light" panose="020B0303030202060203" pitchFamily="34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supporting text</a:t>
            </a:r>
          </a:p>
          <a:p>
            <a:pPr lvl="0"/>
            <a:endParaRPr lang="en-US" dirty="0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285750" y="1017588"/>
            <a:ext cx="5602986" cy="5078412"/>
          </a:xfrm>
        </p:spPr>
        <p:txBody>
          <a:bodyPr/>
          <a:lstStyle>
            <a:lvl1pPr marL="0" indent="0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369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88826" y="84388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92272" y="4943789"/>
            <a:ext cx="4197432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675"/>
              </a:spcBef>
              <a:buNone/>
              <a:defRPr sz="1500">
                <a:latin typeface="MetricHPE Light" panose="020B0303030202060203" pitchFamily="34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285750" y="1017588"/>
            <a:ext cx="420395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4660818" y="4943789"/>
            <a:ext cx="4197432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675"/>
              </a:spcBef>
              <a:buNone/>
              <a:defRPr sz="1500">
                <a:latin typeface="MetricHPE Light" panose="020B0303030202060203" pitchFamily="34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4654296" y="1017588"/>
            <a:ext cx="4203954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39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92272" y="387449"/>
            <a:ext cx="8565978" cy="427036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Click to add one-line titl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88826" y="843885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 bwMode="ltGray">
          <a:xfrm>
            <a:off x="292272" y="4943789"/>
            <a:ext cx="2765253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675"/>
              </a:spcBef>
              <a:buNone/>
              <a:defRPr sz="1500">
                <a:latin typeface="MetricHPE Light" panose="020B0303030202060203" pitchFamily="34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8" hasCustomPrompt="1"/>
          </p:nvPr>
        </p:nvSpPr>
        <p:spPr>
          <a:xfrm>
            <a:off x="285750" y="1017588"/>
            <a:ext cx="2765253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 hasCustomPrompt="1"/>
          </p:nvPr>
        </p:nvSpPr>
        <p:spPr bwMode="ltGray">
          <a:xfrm>
            <a:off x="3195896" y="4943789"/>
            <a:ext cx="2765253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675"/>
              </a:spcBef>
              <a:buNone/>
              <a:defRPr sz="1500">
                <a:latin typeface="MetricHPE Light" panose="020B0303030202060203" pitchFamily="34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189374" y="1017588"/>
            <a:ext cx="2765253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21" hasCustomPrompt="1"/>
          </p:nvPr>
        </p:nvSpPr>
        <p:spPr bwMode="ltGray">
          <a:xfrm>
            <a:off x="6106041" y="4943789"/>
            <a:ext cx="2765253" cy="1152211"/>
          </a:xfrm>
          <a:noFill/>
          <a:ln w="57150">
            <a:noFill/>
            <a:miter lim="800000"/>
          </a:ln>
        </p:spPr>
        <p:txBody>
          <a:bodyPr lIns="137160" tIns="91440" rIns="137160" bIns="91440">
            <a:noAutofit/>
          </a:bodyPr>
          <a:lstStyle>
            <a:lvl1pPr marL="0" indent="0" algn="ctr">
              <a:spcBef>
                <a:spcPts val="675"/>
              </a:spcBef>
              <a:buNone/>
              <a:defRPr sz="1500">
                <a:latin typeface="MetricHPE Light" panose="020B0303030202060203" pitchFamily="34" charset="0"/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Click to add caption</a:t>
            </a:r>
          </a:p>
          <a:p>
            <a:pPr lvl="0"/>
            <a:endParaRPr lang="en-US" dirty="0"/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22" hasCustomPrompt="1"/>
          </p:nvPr>
        </p:nvSpPr>
        <p:spPr>
          <a:xfrm>
            <a:off x="6099519" y="1017588"/>
            <a:ext cx="2765253" cy="3803904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85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5751" y="521016"/>
            <a:ext cx="4607942" cy="2828660"/>
          </a:xfrm>
        </p:spPr>
        <p:txBody>
          <a:bodyPr anchor="b"/>
          <a:lstStyle>
            <a:lvl1pPr>
              <a:lnSpc>
                <a:spcPct val="85000"/>
              </a:lnSpc>
              <a:defRPr sz="3300"/>
            </a:lvl1pPr>
          </a:lstStyle>
          <a:p>
            <a:r>
              <a:rPr lang="en-US" dirty="0"/>
              <a:t>Click to add thank you messag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85751" y="3374136"/>
            <a:ext cx="397712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2272" y="3528820"/>
            <a:ext cx="856597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5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Speaker contact information</a:t>
            </a:r>
            <a:endParaRPr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891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295143" y="381957"/>
            <a:ext cx="1664059" cy="893759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284736" y="1869197"/>
            <a:ext cx="8567666" cy="1905000"/>
          </a:xfrm>
        </p:spPr>
        <p:txBody>
          <a:bodyPr anchor="b"/>
          <a:lstStyle>
            <a:lvl1pPr>
              <a:lnSpc>
                <a:spcPct val="80000"/>
              </a:lnSpc>
              <a:defRPr sz="33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735" y="4133088"/>
            <a:ext cx="61722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25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735" y="4577983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8" name="Rectangle 17"/>
          <p:cNvSpPr/>
          <p:nvPr/>
        </p:nvSpPr>
        <p:spPr>
          <a:xfrm>
            <a:off x="284736" y="3890957"/>
            <a:ext cx="397712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250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295143" y="381957"/>
            <a:ext cx="1664059" cy="893759"/>
            <a:chOff x="3578225" y="1146175"/>
            <a:chExt cx="5038725" cy="2111375"/>
          </a:xfrm>
        </p:grpSpPr>
        <p:sp>
          <p:nvSpPr>
            <p:cNvPr id="11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1"/>
              <a:ext cx="5038725" cy="1289049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latin typeface="MetricHPE Black" panose="020B0A03030202060203" pitchFamily="34" charset="0"/>
              </a:endParaRPr>
            </a:p>
          </p:txBody>
        </p:sp>
      </p:grpSp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4736" y="1869197"/>
            <a:ext cx="8567666" cy="1905000"/>
          </a:xfrm>
        </p:spPr>
        <p:txBody>
          <a:bodyPr anchor="b"/>
          <a:lstStyle>
            <a:lvl1pPr>
              <a:lnSpc>
                <a:spcPct val="80000"/>
              </a:lnSpc>
              <a:defRPr sz="3300">
                <a:solidFill>
                  <a:sysClr val="windowText" lastClr="000000"/>
                </a:solidFill>
              </a:defRPr>
            </a:lvl1pPr>
          </a:lstStyle>
          <a:p>
            <a:r>
              <a:rPr lang="en-US" dirty="0"/>
              <a:t>Click to edit</a:t>
            </a:r>
            <a:br>
              <a:rPr lang="en-US" dirty="0"/>
            </a:br>
            <a:r>
              <a:rPr lang="en-US" dirty="0"/>
              <a:t>master title style</a:t>
            </a:r>
            <a:endParaRPr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4735" y="4133088"/>
            <a:ext cx="6172200" cy="4389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25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4735" y="4577983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ysClr val="windowText" lastClr="000000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  <p:sp>
        <p:nvSpPr>
          <p:cNvPr id="16" name="Rectangle 15"/>
          <p:cNvSpPr/>
          <p:nvPr/>
        </p:nvSpPr>
        <p:spPr>
          <a:xfrm>
            <a:off x="284736" y="3890957"/>
            <a:ext cx="397712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351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3543" y="287942"/>
            <a:ext cx="85725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sp>
        <p:nvSpPr>
          <p:cNvPr id="5" name="Rectangle 4"/>
          <p:cNvSpPr/>
          <p:nvPr/>
        </p:nvSpPr>
        <p:spPr>
          <a:xfrm>
            <a:off x="287527" y="1228187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83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, 2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3543" y="287942"/>
            <a:ext cx="857250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Two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2272" y="1205694"/>
            <a:ext cx="8565978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5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 one-line subtitle</a:t>
            </a:r>
          </a:p>
        </p:txBody>
      </p:sp>
      <p:sp>
        <p:nvSpPr>
          <p:cNvPr id="8" name="Rectangle 7"/>
          <p:cNvSpPr/>
          <p:nvPr/>
        </p:nvSpPr>
        <p:spPr>
          <a:xfrm>
            <a:off x="288826" y="1618696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9223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3544" y="2676894"/>
            <a:ext cx="2763982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88826" y="3616182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728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3544" y="2676894"/>
            <a:ext cx="265228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88826" y="3616182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3057525" y="331788"/>
            <a:ext cx="5800725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070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88826" y="3616182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3057525" y="331788"/>
            <a:ext cx="5800725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92272" y="2703886"/>
            <a:ext cx="2675926" cy="7955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650" baseline="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dirty="0"/>
              <a:t>Click to add</a:t>
            </a:r>
            <a:br>
              <a:rPr lang="en-US" dirty="0"/>
            </a:br>
            <a:r>
              <a:rPr lang="en-US" dirty="0"/>
              <a:t>two</a:t>
            </a:r>
            <a:r>
              <a:rPr dirty="0"/>
              <a:t>-line 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93543" y="1980879"/>
            <a:ext cx="2674655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851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Caption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3544" y="1417320"/>
            <a:ext cx="265228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88826" y="2356608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3057525" y="331788"/>
            <a:ext cx="5800725" cy="5764212"/>
          </a:xfrm>
        </p:spPr>
        <p:txBody>
          <a:bodyPr anchor="ctr"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85751" y="2534960"/>
            <a:ext cx="2659856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72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3057525" y="0"/>
            <a:ext cx="6086475" cy="6858000"/>
          </a:xfrm>
        </p:spPr>
        <p:txBody>
          <a:bodyPr anchor="ctr"/>
          <a:lstStyle>
            <a:lvl1pPr marL="0" indent="0" algn="ct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edge-to-edge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3544" y="1417320"/>
            <a:ext cx="2652280" cy="868680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Add</a:t>
            </a:r>
            <a:br>
              <a:rPr lang="en-US" dirty="0"/>
            </a:br>
            <a:r>
              <a:rPr lang="en-US" dirty="0"/>
              <a:t>multi-Line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88826" y="2356608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85751" y="2534960"/>
            <a:ext cx="2659856" cy="3446462"/>
          </a:xfrm>
        </p:spPr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  <a:lvl2pPr>
              <a:defRPr>
                <a:latin typeface="MetricHPE Light" panose="020B0303030202060203" pitchFamily="34" charset="0"/>
              </a:defRPr>
            </a:lvl2pPr>
            <a:lvl3pPr>
              <a:defRPr>
                <a:latin typeface="MetricHPE Light" panose="020B0303030202060203" pitchFamily="34" charset="0"/>
              </a:defRPr>
            </a:lvl3pPr>
            <a:lvl4pPr>
              <a:defRPr>
                <a:latin typeface="MetricHPE Light" panose="020B0303030202060203" pitchFamily="34" charset="0"/>
              </a:defRPr>
            </a:lvl4pPr>
            <a:lvl5pPr>
              <a:defRPr>
                <a:latin typeface="MetricHPE Light" panose="020B030303020206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102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198659" y="6426104"/>
            <a:ext cx="746684" cy="210312"/>
          </a:xfrm>
          <a:prstGeom prst="rect">
            <a:avLst/>
          </a:prstGeom>
        </p:spPr>
        <p:txBody>
          <a:bodyPr/>
          <a:lstStyle/>
          <a:p>
            <a:fld id="{B927BB18-5636-42B5-BC9E-379D3DAA0F7D}" type="datetimeFigureOut">
              <a:rPr lang="en-US" smtClean="0"/>
              <a:t>4/8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261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B927BB18-5636-42B5-BC9E-379D3DAA0F7D}" type="datetimeFigureOut">
              <a:rPr lang="en-US" smtClean="0"/>
              <a:t>4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2552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6858000"/>
          </a:xfrm>
        </p:spPr>
        <p:txBody>
          <a:bodyPr rIns="1828800" anchor="ctr"/>
          <a:lstStyle>
            <a:lvl1pPr marL="0" indent="0" algn="r">
              <a:buNone/>
              <a:defRPr>
                <a:latin typeface="MetricHPE Light" panose="020B0303030202060203" pitchFamily="34" charset="0"/>
              </a:defRPr>
            </a:lvl1pPr>
          </a:lstStyle>
          <a:p>
            <a:r>
              <a:rPr lang="en-US" dirty="0"/>
              <a:t>Click to add pictur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14880" y="2743510"/>
            <a:ext cx="4222937" cy="1485280"/>
          </a:xfrm>
        </p:spPr>
        <p:txBody>
          <a:bodyPr anchor="t"/>
          <a:lstStyle>
            <a:lvl1pPr>
              <a:defRPr sz="2400" baseline="0"/>
            </a:lvl1pPr>
          </a:lstStyle>
          <a:p>
            <a:r>
              <a:rPr lang="en-US" dirty="0"/>
              <a:t>Click to add section header</a:t>
            </a:r>
            <a:br>
              <a:rPr lang="en-US" dirty="0"/>
            </a:br>
            <a:r>
              <a:rPr lang="en-US" dirty="0"/>
              <a:t>or big idea statement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748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0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7A40F0C-99FB-164C-81EB-CA97DE2E31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60000" contras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"/>
          <a:stretch/>
        </p:blipFill>
        <p:spPr>
          <a:xfrm>
            <a:off x="1786" y="0"/>
            <a:ext cx="9140429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17" y="456997"/>
            <a:ext cx="2276856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57794" y="2209800"/>
            <a:ext cx="6685956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dirty="0"/>
              <a:t>Title slide with picture</a:t>
            </a:r>
            <a:endParaRPr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21410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6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20160410_HPE_SF_55_WINDOW_MEETINGS_0904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685607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17" y="456997"/>
            <a:ext cx="2276856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57795" y="2209800"/>
            <a:ext cx="5943006" cy="1905000"/>
          </a:xfrm>
        </p:spPr>
        <p:txBody>
          <a:bodyPr anchor="b"/>
          <a:lstStyle>
            <a:lvl1pPr>
              <a:lnSpc>
                <a:spcPct val="80000"/>
              </a:lnSpc>
              <a:defRPr sz="49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 with picture</a:t>
            </a:r>
            <a:endParaRPr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868896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with Pictur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150923_TECH_SCOUT_01_VANCOUVER_PORT_0337_alt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 descr="hpe ppt cover logos_grn_po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17" y="456997"/>
            <a:ext cx="2276856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dirty="0"/>
              <a:t>Title slide with picture</a:t>
            </a:r>
            <a:endParaRPr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68383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8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20150930_63_MTN_BIKERS_0724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17" y="456997"/>
            <a:ext cx="2276856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 with picture</a:t>
            </a:r>
            <a:endParaRPr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04399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3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GettyImages-499713957_original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17" y="456997"/>
            <a:ext cx="2276856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dirty="0"/>
              <a:t>Title slide with picture</a:t>
            </a:r>
            <a:endParaRPr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69548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9_Title Slide with Dark Picture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20140812_HP_Brazil_10_Supplemental_I7V2760_original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17" y="456997"/>
            <a:ext cx="2276856" cy="1225296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57794" y="2209800"/>
            <a:ext cx="6857405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 dirty="0"/>
              <a:t>Title slide with picture</a:t>
            </a:r>
            <a:endParaRPr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peaker name and title</a:t>
            </a:r>
            <a:endParaRPr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4817" y="5821835"/>
            <a:ext cx="4117184" cy="33921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5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rPr lang="en-US" dirty="0"/>
              <a:t>Month day, year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18082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4939694"/>
            <a:ext cx="6856214" cy="699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0" y="5791200"/>
            <a:ext cx="6856214" cy="457200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1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951642" y="457201"/>
            <a:ext cx="2735158" cy="354113"/>
          </a:xfrm>
        </p:spPr>
        <p:txBody>
          <a:bodyPr>
            <a:noAutofit/>
          </a:bodyPr>
          <a:lstStyle>
            <a:lvl1pPr marL="0" indent="0" algn="r">
              <a:spcBef>
                <a:spcPts val="0"/>
              </a:spcBef>
              <a:buNone/>
              <a:defRPr sz="1500" baseline="0">
                <a:solidFill>
                  <a:schemeClr val="accent4"/>
                </a:solidFill>
              </a:defRPr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date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54818" y="456998"/>
            <a:ext cx="2270363" cy="1219403"/>
            <a:chOff x="3578225" y="1146175"/>
            <a:chExt cx="5038725" cy="21113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77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609600"/>
            <a:ext cx="6171008" cy="1936016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54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2545616"/>
            <a:ext cx="6171008" cy="608426"/>
          </a:xfrm>
        </p:spPr>
        <p:txBody>
          <a:bodyPr>
            <a:noAutofit/>
          </a:bodyPr>
          <a:lstStyle>
            <a:lvl1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AC5A9-E9E4-934F-8490-509233F46D53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515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blackWhite">
          <a:xfrm>
            <a:off x="456010" y="608806"/>
            <a:ext cx="8228528" cy="5486400"/>
          </a:xfrm>
          <a:prstGeom prst="rect">
            <a:avLst/>
          </a:prstGeom>
          <a:solidFill>
            <a:srgbClr val="42556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1760" y="990600"/>
            <a:ext cx="6171008" cy="603857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1760" y="1600885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09E36-FBC8-E546-BD6A-AC29ED77A812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75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7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2FAAB2-5B07-5D49-979E-6BD868D27051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57705" y="6248401"/>
            <a:ext cx="727103" cy="390524"/>
            <a:chOff x="3578225" y="1146175"/>
            <a:chExt cx="5038725" cy="2111375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537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ate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504951"/>
            <a:ext cx="9144000" cy="32956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736" y="6246014"/>
            <a:ext cx="715500" cy="27432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85751" y="2686714"/>
            <a:ext cx="6391656" cy="499365"/>
          </a:xfrm>
        </p:spPr>
        <p:txBody>
          <a:bodyPr anchor="b" anchorCtr="0"/>
          <a:lstStyle>
            <a:lvl1pPr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5751" y="3413925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>
                <a:solidFill>
                  <a:schemeClr val="bg1"/>
                </a:solidFill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E89E88-AA0C-49B4-9BC1-610AE2FDBE94}"/>
              </a:ext>
            </a:extLst>
          </p:cNvPr>
          <p:cNvSpPr/>
          <p:nvPr/>
        </p:nvSpPr>
        <p:spPr>
          <a:xfrm>
            <a:off x="285751" y="3258636"/>
            <a:ext cx="514283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703158" y="3314045"/>
            <a:ext cx="4149244" cy="2570834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5"/>
            </a:solidFill>
            <a:miter lim="800000"/>
          </a:ln>
        </p:spPr>
        <p:txBody>
          <a:bodyPr vert="horz" wrap="square" lIns="137160" tIns="137160" rIns="137160" bIns="137160" rtlCol="0">
            <a:noAutofit/>
          </a:bodyPr>
          <a:lstStyle/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en-US" sz="1125" dirty="0">
                <a:latin typeface="MetricHPE Light" panose="020B0303030202060203" pitchFamily="34" charset="0"/>
              </a:rPr>
              <a:t>Please use a section divider image that relates well with the subject of your presentation.</a:t>
            </a:r>
          </a:p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en-US" sz="1125" dirty="0">
                <a:latin typeface="MetricHPE Light" panose="020B0303030202060203" pitchFamily="34" charset="0"/>
              </a:rPr>
              <a:t>To change your section image, go to </a:t>
            </a:r>
            <a:r>
              <a:rPr lang="en-US" sz="1125" dirty="0">
                <a:latin typeface="+mj-lt"/>
              </a:rPr>
              <a:t>[View] </a:t>
            </a:r>
            <a:r>
              <a:rPr lang="en-US" sz="1125" dirty="0">
                <a:latin typeface="MetricHPE Light" panose="020B0303030202060203" pitchFamily="34" charset="0"/>
              </a:rPr>
              <a:t>-&gt; </a:t>
            </a:r>
            <a:r>
              <a:rPr lang="en-US" sz="1125" dirty="0">
                <a:latin typeface="+mj-lt"/>
              </a:rPr>
              <a:t>[Slide Master] </a:t>
            </a:r>
            <a:r>
              <a:rPr lang="en-US" sz="1125" dirty="0">
                <a:latin typeface="MetricHPE Light" panose="020B0303030202060203" pitchFamily="34" charset="0"/>
              </a:rPr>
              <a:t>to delete and insert a new image.</a:t>
            </a:r>
          </a:p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en-US" sz="1125" dirty="0">
                <a:latin typeface="MetricHPE Light" panose="020B0303030202060203" pitchFamily="34" charset="0"/>
              </a:rPr>
              <a:t>A collection of images specifically formatted for use as PPT title slides can be found </a:t>
            </a:r>
            <a:r>
              <a:rPr lang="en-US" sz="1125" dirty="0">
                <a:latin typeface="+mj-lt"/>
                <a:hlinkClick r:id="rId4"/>
              </a:rPr>
              <a:t>here</a:t>
            </a:r>
            <a:r>
              <a:rPr lang="en-US" sz="1125" dirty="0">
                <a:latin typeface="MetricHPE Light" panose="020B0303030202060203" pitchFamily="34" charset="0"/>
              </a:rPr>
              <a:t> in the HPE Brand Library, and cropped to fit.</a:t>
            </a:r>
          </a:p>
          <a:p>
            <a:pPr>
              <a:lnSpc>
                <a:spcPct val="90000"/>
              </a:lnSpc>
              <a:spcAft>
                <a:spcPts val="1200"/>
              </a:spcAft>
            </a:pPr>
            <a:r>
              <a:rPr lang="en-US" sz="1125" dirty="0">
                <a:latin typeface="+mj-lt"/>
              </a:rPr>
              <a:t>Please delete this box in the Slide Master after you update your title image.</a:t>
            </a:r>
          </a:p>
          <a:p>
            <a:pPr>
              <a:lnSpc>
                <a:spcPct val="90000"/>
              </a:lnSpc>
            </a:pPr>
            <a:endParaRPr lang="en-US" sz="1125" dirty="0" err="1">
              <a:solidFill>
                <a:schemeClr val="bg1"/>
              </a:solidFill>
              <a:latin typeface="MetricHPE Light" panose="020B03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28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7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1136C4-7A5C-2F42-92AD-6450DCF41A76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362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7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B66ED4-B38C-C94C-8AEF-79E57CFD12F8}" type="datetime4">
              <a:rPr lang="en-US" smtClean="0">
                <a:solidFill>
                  <a:prstClr val="white"/>
                </a:solidFill>
              </a:rPr>
              <a:pPr/>
              <a:t>April 8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N°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732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010" y="2571747"/>
            <a:ext cx="6171008" cy="576263"/>
          </a:xfrm>
        </p:spPr>
        <p:txBody>
          <a:bodyPr>
            <a:no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6011" y="3149201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457705" y="6248401"/>
            <a:ext cx="727103" cy="390524"/>
            <a:chOff x="3578225" y="1146175"/>
            <a:chExt cx="5038725" cy="2111375"/>
          </a:xfrm>
          <a:solidFill>
            <a:srgbClr val="FFFFFF"/>
          </a:solidFill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4ECC1-1234-F544-AB55-465C994F4BDB}" type="datetime4">
              <a:rPr lang="en-US" smtClean="0">
                <a:solidFill>
                  <a:prstClr val="white"/>
                </a:solidFill>
              </a:rPr>
              <a:pPr/>
              <a:t>April 8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N°›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/>
        </p:nvSpPr>
        <p:spPr>
          <a:xfrm>
            <a:off x="456010" y="462819"/>
            <a:ext cx="8239601" cy="1957368"/>
          </a:xfrm>
          <a:custGeom>
            <a:avLst/>
            <a:gdLst>
              <a:gd name="connsiteX0" fmla="*/ 188969 w 10986134"/>
              <a:gd name="connsiteY0" fmla="*/ 176957 h 1957368"/>
              <a:gd name="connsiteX1" fmla="*/ 188969 w 10986134"/>
              <a:gd name="connsiteY1" fmla="*/ 1768399 h 1957368"/>
              <a:gd name="connsiteX2" fmla="*/ 10797165 w 10986134"/>
              <a:gd name="connsiteY2" fmla="*/ 1768399 h 1957368"/>
              <a:gd name="connsiteX3" fmla="*/ 10797165 w 10986134"/>
              <a:gd name="connsiteY3" fmla="*/ 176957 h 1957368"/>
              <a:gd name="connsiteX4" fmla="*/ 10797165 w 10986134"/>
              <a:gd name="connsiteY4" fmla="*/ 0 h 1957368"/>
              <a:gd name="connsiteX5" fmla="*/ 10986134 w 10986134"/>
              <a:gd name="connsiteY5" fmla="*/ 0 h 1957368"/>
              <a:gd name="connsiteX6" fmla="*/ 10986134 w 10986134"/>
              <a:gd name="connsiteY6" fmla="*/ 1957368 h 1957368"/>
              <a:gd name="connsiteX7" fmla="*/ 10971369 w 10986134"/>
              <a:gd name="connsiteY7" fmla="*/ 1957368 h 1957368"/>
              <a:gd name="connsiteX8" fmla="*/ 10797165 w 10986134"/>
              <a:gd name="connsiteY8" fmla="*/ 1957368 h 1957368"/>
              <a:gd name="connsiteX9" fmla="*/ 188969 w 10986134"/>
              <a:gd name="connsiteY9" fmla="*/ 1957368 h 1957368"/>
              <a:gd name="connsiteX10" fmla="*/ 14764 w 10986134"/>
              <a:gd name="connsiteY10" fmla="*/ 1957368 h 1957368"/>
              <a:gd name="connsiteX11" fmla="*/ 0 w 10986134"/>
              <a:gd name="connsiteY11" fmla="*/ 1957368 h 1957368"/>
              <a:gd name="connsiteX12" fmla="*/ 0 w 10986134"/>
              <a:gd name="connsiteY12" fmla="*/ 0 h 1957368"/>
              <a:gd name="connsiteX13" fmla="*/ 14764 w 10986134"/>
              <a:gd name="connsiteY13" fmla="*/ 0 h 1957368"/>
              <a:gd name="connsiteX14" fmla="*/ 188969 w 10986134"/>
              <a:gd name="connsiteY14" fmla="*/ 0 h 1957368"/>
              <a:gd name="connsiteX15" fmla="*/ 10797165 w 10986134"/>
              <a:gd name="connsiteY15" fmla="*/ 0 h 195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986134" h="1957368">
                <a:moveTo>
                  <a:pt x="188969" y="176957"/>
                </a:moveTo>
                <a:lnTo>
                  <a:pt x="188969" y="1768399"/>
                </a:lnTo>
                <a:lnTo>
                  <a:pt x="10797165" y="1768399"/>
                </a:lnTo>
                <a:lnTo>
                  <a:pt x="10797165" y="176957"/>
                </a:lnTo>
                <a:close/>
                <a:moveTo>
                  <a:pt x="10797165" y="0"/>
                </a:moveTo>
                <a:lnTo>
                  <a:pt x="10986134" y="0"/>
                </a:lnTo>
                <a:lnTo>
                  <a:pt x="10986134" y="1957368"/>
                </a:lnTo>
                <a:lnTo>
                  <a:pt x="10971369" y="1957368"/>
                </a:lnTo>
                <a:lnTo>
                  <a:pt x="10797165" y="1957368"/>
                </a:lnTo>
                <a:lnTo>
                  <a:pt x="188969" y="1957368"/>
                </a:lnTo>
                <a:lnTo>
                  <a:pt x="14764" y="1957368"/>
                </a:lnTo>
                <a:lnTo>
                  <a:pt x="0" y="1957368"/>
                </a:lnTo>
                <a:lnTo>
                  <a:pt x="0" y="0"/>
                </a:lnTo>
                <a:lnTo>
                  <a:pt x="14764" y="0"/>
                </a:lnTo>
                <a:lnTo>
                  <a:pt x="188969" y="0"/>
                </a:lnTo>
                <a:lnTo>
                  <a:pt x="10797165" y="0"/>
                </a:lnTo>
                <a:close/>
              </a:path>
            </a:pathLst>
          </a:custGeom>
          <a:solidFill>
            <a:schemeClr val="accent3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64280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381000"/>
            <a:ext cx="7092553" cy="22860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819400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 baseline="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dirty="0"/>
              <a:t>Click </a:t>
            </a:r>
            <a:r>
              <a:rPr lang="en-US" dirty="0"/>
              <a:t>to add quoted person’s name, title, company</a:t>
            </a:r>
            <a:endParaRPr dirty="0"/>
          </a:p>
        </p:txBody>
      </p:sp>
      <p:grpSp>
        <p:nvGrpSpPr>
          <p:cNvPr id="7" name="Group 6"/>
          <p:cNvGrpSpPr/>
          <p:nvPr/>
        </p:nvGrpSpPr>
        <p:grpSpPr>
          <a:xfrm>
            <a:off x="457705" y="6248401"/>
            <a:ext cx="727103" cy="390524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CDD5-0BB8-4C44-A43C-4316182D6761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05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Quote">
    <p:bg>
      <p:bgPr>
        <a:solidFill>
          <a:srgbClr val="42556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7410" y="381000"/>
            <a:ext cx="7092553" cy="2286000"/>
          </a:xfrm>
        </p:spPr>
        <p:txBody>
          <a:bodyPr>
            <a:noAutofit/>
          </a:bodyPr>
          <a:lstStyle>
            <a:lvl1pPr marL="288036" indent="-288036">
              <a:lnSpc>
                <a:spcPct val="80000"/>
              </a:lnSpc>
              <a:defRPr sz="4500"/>
            </a:lvl1pPr>
          </a:lstStyle>
          <a:p>
            <a:r>
              <a:rPr lang="en-US" dirty="0"/>
              <a:t>“Click to add quote here. Type quotation marks before and after text.”</a:t>
            </a:r>
            <a:endParaRPr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546039" y="2819400"/>
            <a:ext cx="6773923" cy="13716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5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 dirty="0"/>
              <a:t>Click to add quoted person’s name, title, company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456011" y="6248401"/>
            <a:ext cx="727103" cy="390524"/>
            <a:chOff x="3578225" y="1146175"/>
            <a:chExt cx="5038725" cy="2111375"/>
          </a:xfrm>
          <a:solidFill>
            <a:schemeClr val="tx1"/>
          </a:solidFill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657C1-AB1F-B748-B4E2-06B43CBC7EF1}" type="datetime4">
              <a:rPr lang="en-US" smtClean="0">
                <a:solidFill>
                  <a:prstClr val="white"/>
                </a:solidFill>
              </a:rPr>
              <a:pPr/>
              <a:t>April 8, 2020</a:t>
            </a:fld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  <a:endParaRPr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16F8AB-BCEA-4347-8BA6-BE776009BC89}" type="slidenum">
              <a:rPr>
                <a:solidFill>
                  <a:prstClr val="white"/>
                </a:solidFill>
              </a:rPr>
              <a:pPr/>
              <a:t>‹N°›</a:t>
            </a:fld>
            <a:endParaRPr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69872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54546-198F-4542-B85F-D59F25DC2C0A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91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1"/>
            <a:ext cx="8227338" cy="457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017FFD-735B-8445-A003-6488BD3CC7B9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721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152400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="1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h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78153"/>
            <a:ext cx="8227338" cy="411784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589456-AFAD-5248-8D1D-7A649962C7AF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085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5AB71-2405-8C4A-A5AB-C24C03075732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E1FF8B0-D946-9843-B1E7-6B4A079578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081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685339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7845B3-CD0B-3944-AB46-CE0802439EF2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EA75F05-801A-AC45-A6AA-00045DAD69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081" y="521208"/>
            <a:ext cx="8227457" cy="411480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t>Click to add one-line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04FDED6-B41F-F543-AEE0-424C19AC9A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</p:spTree>
    <p:extLst>
      <p:ext uri="{BB962C8B-B14F-4D97-AF65-F5344CB8AC3E}">
        <p14:creationId xmlns:p14="http://schemas.microsoft.com/office/powerpoint/2010/main" val="271406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736" y="6246014"/>
            <a:ext cx="715500" cy="27432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83421" y="2143789"/>
            <a:ext cx="6391656" cy="499365"/>
          </a:xfrm>
        </p:spPr>
        <p:txBody>
          <a:bodyPr anchor="b" anchorCtr="0"/>
          <a:lstStyle>
            <a:lvl1pPr>
              <a:defRPr sz="24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3421" y="2871000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83421" y="2716146"/>
            <a:ext cx="6391656" cy="54864"/>
          </a:xfrm>
          <a:prstGeom prst="rect">
            <a:avLst/>
          </a:prstGeom>
          <a:solidFill>
            <a:srgbClr val="01A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463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FEAB7-D13A-444F-8992-C4D9FA4129AB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850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081" y="1524000"/>
            <a:ext cx="397764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6898" y="1524000"/>
            <a:ext cx="397764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B58E9B-CA7F-DE42-92AE-2058794FA82A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9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3999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5000"/>
            <a:ext cx="397764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04AE7A-0938-F443-B6AB-B403C5EDD968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83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081" y="1906552"/>
            <a:ext cx="3977640" cy="418944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6898" y="1524000"/>
            <a:ext cx="3977640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6898" y="1906552"/>
            <a:ext cx="3977640" cy="418944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B3143C-578E-D14D-9F87-88C6DF9BB59C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87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524000"/>
            <a:ext cx="2571750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F546B3-2DD8-164F-B5C7-162E0AB064D2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255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2CBCB0-75C1-DB44-A359-D16F8C775D91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24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081" y="521208"/>
            <a:ext cx="8227457" cy="411480"/>
          </a:xfrm>
        </p:spPr>
        <p:txBody>
          <a:bodyPr/>
          <a:lstStyle>
            <a:lvl1pPr>
              <a:defRPr/>
            </a:lvl1pPr>
          </a:lstStyle>
          <a:p>
            <a:r>
              <a:t>Click to add one-line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081" y="934240"/>
            <a:ext cx="8227457" cy="3810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800" baseline="0"/>
            </a:lvl1pPr>
            <a:lvl2pPr marL="0" indent="0">
              <a:spcBef>
                <a:spcPts val="0"/>
              </a:spcBef>
              <a:buNone/>
              <a:defRPr sz="1800"/>
            </a:lvl2pPr>
            <a:lvl3pPr marL="0" indent="0">
              <a:spcBef>
                <a:spcPts val="0"/>
              </a:spcBef>
              <a:buNone/>
              <a:defRPr sz="1800"/>
            </a:lvl3pPr>
            <a:lvl4pPr marL="0" indent="0">
              <a:spcBef>
                <a:spcPts val="0"/>
              </a:spcBef>
              <a:buNone/>
              <a:defRPr sz="1800"/>
            </a:lvl4pPr>
            <a:lvl5pPr marL="0" indent="0">
              <a:spcBef>
                <a:spcPts val="0"/>
              </a:spcBef>
              <a:buNone/>
              <a:defRPr sz="1800"/>
            </a:lvl5pPr>
            <a:lvl6pPr marL="0" indent="0">
              <a:spcBef>
                <a:spcPts val="0"/>
              </a:spcBef>
              <a:buNone/>
              <a:defRPr sz="1800"/>
            </a:lvl6pPr>
            <a:lvl7pPr marL="0" indent="0">
              <a:spcBef>
                <a:spcPts val="0"/>
              </a:spcBef>
              <a:buNone/>
              <a:defRPr sz="1800"/>
            </a:lvl7pPr>
            <a:lvl8pPr marL="0" indent="0">
              <a:spcBef>
                <a:spcPts val="0"/>
              </a:spcBef>
              <a:buNone/>
              <a:defRPr sz="1800"/>
            </a:lvl8pPr>
            <a:lvl9pPr marL="0" indent="0">
              <a:spcBef>
                <a:spcPts val="0"/>
              </a:spcBef>
              <a:buNone/>
              <a:defRPr sz="1800"/>
            </a:lvl9pPr>
          </a:lstStyle>
          <a:p>
            <a:pPr lvl="0"/>
            <a:r>
              <a:t>Click to add one-line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dirty="0"/>
              <a:t>Click to add heading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7081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3286245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286125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115170" y="1523999"/>
            <a:ext cx="2571631" cy="3200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5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t>Click to add heading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112788" y="1905000"/>
            <a:ext cx="2571750" cy="4191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55E8E9-2CBB-8C46-BF41-C5AF6950E46C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734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24000"/>
            <a:ext cx="5886450" cy="457200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6457950" y="1524000"/>
            <a:ext cx="2226588" cy="4572000"/>
          </a:xfrm>
          <a:solidFill>
            <a:schemeClr val="accent5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F165F2-D5A4-2D4F-AD92-50CA67FC3E65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522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5600700" y="1524000"/>
            <a:ext cx="3083838" cy="457200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9595E-318B-A141-A4A3-C6C3221E6E83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149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080" y="1524000"/>
            <a:ext cx="5029320" cy="4572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5600701" y="1524000"/>
            <a:ext cx="3083838" cy="45720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D1FF5D-BE57-D240-BEA8-E75C5C5F22B5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21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urpl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3421" y="2143789"/>
            <a:ext cx="6391656" cy="499365"/>
          </a:xfrm>
        </p:spPr>
        <p:txBody>
          <a:bodyPr anchor="b" anchorCtr="0"/>
          <a:lstStyle>
            <a:lvl1pPr>
              <a:defRPr sz="24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3421" y="2871000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83421" y="2716146"/>
            <a:ext cx="6391656" cy="5486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85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Righ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519236"/>
            <a:ext cx="3943350" cy="852364"/>
          </a:xfrm>
        </p:spPr>
        <p:txBody>
          <a:bodyPr anchor="t"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081" y="2819400"/>
            <a:ext cx="2743200" cy="1981200"/>
          </a:xfrm>
          <a:noFill/>
        </p:spPr>
        <p:txBody>
          <a:bodyPr lIns="0" tIns="0" rIns="0" bIns="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tx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72000" y="519236"/>
            <a:ext cx="4114799" cy="5576764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1FEE4-4E50-0742-9976-2C7545C98F37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346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57081" y="519236"/>
            <a:ext cx="8227457" cy="85236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524000"/>
            <a:ext cx="3984498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4953000"/>
            <a:ext cx="3984498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4700040" y="1524000"/>
            <a:ext cx="3984498" cy="33528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4700040" y="4953000"/>
            <a:ext cx="3984498" cy="1143000"/>
          </a:xfrm>
          <a:solidFill>
            <a:schemeClr val="accent4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A23EB-0789-5546-A245-9025E757CEDD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1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 bwMode="ltGray">
          <a:xfrm>
            <a:off x="456010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ltGray">
          <a:xfrm>
            <a:off x="457080" y="4267200"/>
            <a:ext cx="257175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 bwMode="ltGray">
          <a:xfrm>
            <a:off x="3286125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 bwMode="ltGray">
          <a:xfrm>
            <a:off x="3286125" y="4267200"/>
            <a:ext cx="257175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 bwMode="ltGray">
          <a:xfrm>
            <a:off x="6112788" y="1524000"/>
            <a:ext cx="2571750" cy="2667000"/>
          </a:xfrm>
        </p:spPr>
        <p:txBody>
          <a:bodyPr lIns="0" tIns="457200">
            <a:normAutofit/>
          </a:bodyPr>
          <a:lstStyle>
            <a:lvl1pPr marL="0" indent="0" algn="ctr">
              <a:buNone/>
              <a:defRPr sz="135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 bwMode="ltGray">
          <a:xfrm>
            <a:off x="6112788" y="4267200"/>
            <a:ext cx="2571750" cy="1828800"/>
          </a:xfrm>
          <a:solidFill>
            <a:srgbClr val="425563"/>
          </a:solidFill>
        </p:spPr>
        <p:txBody>
          <a:bodyPr lIns="91440" tIns="91440" rIns="91440" bIns="91440">
            <a:noAutofit/>
          </a:bodyPr>
          <a:lstStyle>
            <a:lvl1pPr marL="0" indent="0">
              <a:spcBef>
                <a:spcPts val="675"/>
              </a:spcBef>
              <a:buNone/>
              <a:defRPr sz="135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5C1666-D89A-054E-A221-794226042687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8302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28D9F24-91D2-6146-89C6-B6534284990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60000" contras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1"/>
          <a:stretch/>
        </p:blipFill>
        <p:spPr>
          <a:xfrm>
            <a:off x="1786" y="0"/>
            <a:ext cx="914042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081" y="2667000"/>
            <a:ext cx="6856214" cy="2286000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6010" y="5015894"/>
            <a:ext cx="6856214" cy="1080107"/>
          </a:xfrm>
        </p:spPr>
        <p:txBody>
          <a:bodyPr wrap="square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CA940DF-271B-7541-8DF0-2ED7D0A15A98}" type="datetime4">
              <a:rPr lang="en-US" smtClean="0">
                <a:solidFill>
                  <a:prstClr val="white"/>
                </a:solidFill>
              </a:rPr>
              <a:pPr/>
              <a:t>April 8, 202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Private | Confidential | Internal Use Only 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prstClr val="white"/>
                </a:solidFill>
              </a:rPr>
              <a:pPr/>
              <a:t>‹N°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2AF6A77-CC83-0849-8BC4-40EE605353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17" y="456997"/>
            <a:ext cx="2276856" cy="1225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01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795" y="2209800"/>
            <a:ext cx="6172200" cy="1905000"/>
          </a:xfrm>
        </p:spPr>
        <p:txBody>
          <a:bodyPr anchor="b"/>
          <a:lstStyle>
            <a:lvl1pPr>
              <a:lnSpc>
                <a:spcPct val="80000"/>
              </a:lnSpc>
              <a:defRPr sz="495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010" y="4267200"/>
            <a:ext cx="6172200" cy="9144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grpSp>
        <p:nvGrpSpPr>
          <p:cNvPr id="7" name="Group 6"/>
          <p:cNvGrpSpPr/>
          <p:nvPr/>
        </p:nvGrpSpPr>
        <p:grpSpPr>
          <a:xfrm>
            <a:off x="454818" y="456998"/>
            <a:ext cx="2270363" cy="1219403"/>
            <a:chOff x="3578225" y="1146175"/>
            <a:chExt cx="5038725" cy="2111375"/>
          </a:xfrm>
        </p:grpSpPr>
        <p:sp>
          <p:nvSpPr>
            <p:cNvPr id="8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920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BA74C6-870F-4B48-84EF-B62321CAC3E3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877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72400" y="519236"/>
            <a:ext cx="914399" cy="5576764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519236"/>
            <a:ext cx="7258050" cy="55767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33F7F-0425-D34C-84D7-2E3972E3BCBC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6F8AB-BCEA-4347-8BA6-BE776009BC89}" type="slidenum">
              <a:rPr>
                <a:solidFill>
                  <a:srgbClr val="5F7A76"/>
                </a:solidFill>
              </a:rPr>
              <a:pPr/>
              <a:t>‹N°›</a:t>
            </a:fld>
            <a:endParaRPr dirty="0">
              <a:solidFill>
                <a:srgbClr val="5F7A7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127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B927BB18-5636-42B5-BC9E-379D3DAA0F7D}" type="datetimeFigureOut">
              <a:rPr lang="en-US" smtClean="0"/>
              <a:t>4/8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16232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2960" y="758952"/>
            <a:ext cx="75438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25038" y="4455621"/>
            <a:ext cx="75438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347D-5ACD-4C99-B74B-A9C85AD731AF}" type="datetimeFigureOut">
              <a:rPr lang="en-US" smtClean="0"/>
              <a:t>4/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0170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4/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18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Turquois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3421" y="2143789"/>
            <a:ext cx="6391656" cy="499365"/>
          </a:xfrm>
        </p:spPr>
        <p:txBody>
          <a:bodyPr anchor="b" anchorCtr="0"/>
          <a:lstStyle>
            <a:lvl1pPr>
              <a:defRPr sz="24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3421" y="2871000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83421" y="2716146"/>
            <a:ext cx="6391656" cy="54864"/>
          </a:xfrm>
          <a:prstGeom prst="rect">
            <a:avLst/>
          </a:prstGeom>
          <a:solidFill>
            <a:srgbClr val="32DA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652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758952"/>
            <a:ext cx="75438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4453128"/>
            <a:ext cx="75438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4/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61309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845734"/>
            <a:ext cx="370332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1845736"/>
            <a:ext cx="3703320" cy="40233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4/8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248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960" y="2582334"/>
            <a:ext cx="370332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1846052"/>
            <a:ext cx="370332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2582334"/>
            <a:ext cx="3703320" cy="32867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6027F-7875-4030-9381-8BD8C4F21935}" type="datetimeFigureOut">
              <a:rPr lang="en-US" smtClean="0"/>
              <a:t>4/8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75287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4/8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79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4/8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587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0237" y="731520"/>
            <a:ext cx="5009393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49134" y="6459786"/>
            <a:ext cx="1963883" cy="365125"/>
          </a:xfrm>
        </p:spPr>
        <p:txBody>
          <a:bodyPr/>
          <a:lstStyle>
            <a:lvl1pPr algn="l">
              <a:defRPr/>
            </a:lvl1pPr>
          </a:lstStyle>
          <a:p>
            <a:fld id="{4509A250-FF31-4206-8172-F9D3106AACB1}" type="datetimeFigureOut">
              <a:rPr lang="en-US" smtClean="0"/>
              <a:t>4/8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00450" y="6459786"/>
            <a:ext cx="348615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45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9141619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2" y="491507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2960" y="5074920"/>
            <a:ext cx="7589520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2" y="0"/>
            <a:ext cx="9143989" cy="4915076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2959" y="5907024"/>
            <a:ext cx="7589520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4/8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236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4/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69243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414779"/>
            <a:ext cx="1971675" cy="5757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414779"/>
            <a:ext cx="5800725" cy="5757420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09A250-FF31-4206-8172-F9D3106AACB1}" type="datetimeFigureOut">
              <a:rPr lang="en-US" smtClean="0"/>
              <a:t>4/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3234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ate Orange Fram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3421" y="2143789"/>
            <a:ext cx="6391656" cy="499365"/>
          </a:xfrm>
        </p:spPr>
        <p:txBody>
          <a:bodyPr anchor="b" anchorCtr="0"/>
          <a:lstStyle>
            <a:lvl1pPr>
              <a:defRPr sz="2400" baseline="0"/>
            </a:lvl1pPr>
          </a:lstStyle>
          <a:p>
            <a:r>
              <a:rPr lang="en-US" dirty="0"/>
              <a:t>Click to add section header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283421" y="2871000"/>
            <a:ext cx="6171008" cy="5334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800">
                <a:latin typeface="MetricHPE Light" panose="020B0303030202060203" pitchFamily="34" charset="0"/>
              </a:defRPr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83421" y="2716146"/>
            <a:ext cx="6391656" cy="54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16316"/>
            <a:endParaRPr lang="en-US" sz="1613" dirty="0">
              <a:solidFill>
                <a:prstClr val="white"/>
              </a:solidFill>
              <a:latin typeface="MetricHPE Light" panose="020B030303020206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" y="6246014"/>
            <a:ext cx="715500" cy="274320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155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5750" y="391852"/>
            <a:ext cx="8572500" cy="40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5869" y="1163783"/>
            <a:ext cx="8572376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02142" y="6301812"/>
            <a:ext cx="51325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154274" indent="-154274" algn="l">
              <a:lnSpc>
                <a:spcPct val="90000"/>
              </a:lnSpc>
              <a:buSzPct val="120000"/>
              <a:buFontTx/>
              <a:buBlip>
                <a:blip r:embed="rId41"/>
              </a:buBlip>
              <a:defRPr sz="1500" kern="1200" cap="all" normalizeH="0" baseline="1000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16042" y="6336078"/>
            <a:ext cx="3086100" cy="22071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lnSpc>
                <a:spcPct val="90000"/>
              </a:lnSpc>
              <a:defRPr sz="900" cap="all" baseline="0">
                <a:solidFill>
                  <a:schemeClr val="bg2"/>
                </a:solidFill>
                <a:latin typeface="MetricHPE Light" panose="020B0303030202060203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377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  <p:sldLayoutId id="2147483701" r:id="rId35"/>
    <p:sldLayoutId id="2147483702" r:id="rId36"/>
    <p:sldLayoutId id="2147483703" r:id="rId37"/>
    <p:sldLayoutId id="2147483704" r:id="rId38"/>
    <p:sldLayoutId id="2147483705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0" kern="1200" cap="all" baseline="0">
          <a:solidFill>
            <a:schemeClr val="tx1"/>
          </a:solidFill>
          <a:latin typeface="MetricHPE Black" panose="020B0A03030202060203" pitchFamily="34" charset="0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MetricHPE Light" panose="020B0303030202060203" pitchFamily="34" charset="0"/>
        <a:buChar char="•"/>
        <a:defRPr sz="15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SzPct val="90000"/>
        <a:buFont typeface="MetricHPE Light" panose="020B0303030202060203" pitchFamily="34" charset="0"/>
        <a:buChar char="•"/>
        <a:defRPr sz="135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MetricHPE Light" panose="020B0303030202060203" pitchFamily="34" charset="0"/>
        <a:buChar char="–"/>
        <a:defRPr sz="120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MetricHPE Light" panose="020B0303030202060203" pitchFamily="34" charset="0"/>
        <a:buChar char="–"/>
        <a:defRPr sz="105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300"/>
        </a:spcBef>
        <a:buClr>
          <a:schemeClr val="tx1"/>
        </a:buClr>
        <a:buFont typeface="MetricHPE Light" panose="020B0303030202060203" pitchFamily="34" charset="0"/>
        <a:buChar char="–"/>
        <a:defRPr sz="1050" kern="1200">
          <a:solidFill>
            <a:schemeClr val="tx1"/>
          </a:solidFill>
          <a:latin typeface="MetricHPE Light" panose="020B0303030202060203" pitchFamily="34" charset="0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MetricHPE Light" panose="020B0303030202060203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MetricHPE Light" panose="020B0303030202060203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MetricHPE Light" panose="020B0303030202060203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MetricHPE Light" panose="020B0303030202060203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40">
          <p15:clr>
            <a:srgbClr val="F26B43"/>
          </p15:clr>
        </p15:guide>
        <p15:guide id="4" pos="7440">
          <p15:clr>
            <a:srgbClr val="F26B43"/>
          </p15:clr>
        </p15:guide>
        <p15:guide id="5" orient="horz" pos="432">
          <p15:clr>
            <a:srgbClr val="F26B43"/>
          </p15:clr>
        </p15:guide>
        <p15:guide id="6" orient="horz" pos="3840">
          <p15:clr>
            <a:srgbClr val="F26B43"/>
          </p15:clr>
        </p15:guide>
        <p15:guide id="7" orient="horz" pos="1440">
          <p15:clr>
            <a:srgbClr val="F26B43"/>
          </p15:clr>
        </p15:guide>
        <p15:guide id="8" orient="horz" pos="2880">
          <p15:clr>
            <a:srgbClr val="F26B43"/>
          </p15:clr>
        </p15:guide>
        <p15:guide id="9" pos="2568">
          <p15:clr>
            <a:srgbClr val="F26B43"/>
          </p15:clr>
        </p15:guide>
        <p15:guide id="10" pos="5112">
          <p15:clr>
            <a:srgbClr val="F26B43"/>
          </p15:clr>
        </p15:guide>
        <p15:guide id="11" orient="horz" pos="4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081" y="519236"/>
            <a:ext cx="8227457" cy="8523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24001"/>
            <a:ext cx="8227338" cy="4571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56009" y="437706"/>
            <a:ext cx="8229600" cy="18288"/>
          </a:xfrm>
          <a:prstGeom prst="rect">
            <a:avLst/>
          </a:prstGeom>
          <a:solidFill>
            <a:srgbClr val="01A982"/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98659" y="6426104"/>
            <a:ext cx="746684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ctr">
              <a:defRPr sz="525">
                <a:solidFill>
                  <a:schemeClr val="tx1"/>
                </a:solidFill>
              </a:defRPr>
            </a:lvl1pPr>
          </a:lstStyle>
          <a:p>
            <a:fld id="{3783A3F1-DF3E-DC4C-9BFB-984D37F87B7A}" type="datetime4">
              <a:rPr lang="en-US" smtClean="0">
                <a:solidFill>
                  <a:prstClr val="black"/>
                </a:solidFill>
              </a:rPr>
              <a:pPr/>
              <a:t>April 8, 2020</a:t>
            </a:fld>
            <a:endParaRPr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200650" y="6426104"/>
            <a:ext cx="3018899" cy="21031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Private | Confidential | Internal Use Only 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286751" y="6430869"/>
            <a:ext cx="400049" cy="232147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chemeClr val="accent4"/>
                </a:solidFill>
              </a:defRPr>
            </a:lvl1pPr>
          </a:lstStyle>
          <a:p>
            <a:fld id="{B016F8AB-BCEA-4347-8BA6-BE776009BC89}" type="slidenum">
              <a:rPr lang="en-US" smtClean="0">
                <a:solidFill>
                  <a:srgbClr val="5F7A76"/>
                </a:solidFill>
              </a:rPr>
              <a:pPr/>
              <a:t>‹N°›</a:t>
            </a:fld>
            <a:endParaRPr lang="en-US" dirty="0">
              <a:solidFill>
                <a:srgbClr val="5F7A76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57705" y="6248401"/>
            <a:ext cx="727103" cy="390524"/>
            <a:chOff x="3578225" y="1146175"/>
            <a:chExt cx="5038725" cy="2111375"/>
          </a:xfrm>
        </p:grpSpPr>
        <p:sp>
          <p:nvSpPr>
            <p:cNvPr id="9" name="Freeform 5"/>
            <p:cNvSpPr>
              <a:spLocks noEditPoints="1"/>
            </p:cNvSpPr>
            <p:nvPr/>
          </p:nvSpPr>
          <p:spPr bwMode="auto">
            <a:xfrm>
              <a:off x="3578225" y="1146175"/>
              <a:ext cx="1725613" cy="498475"/>
            </a:xfrm>
            <a:custGeom>
              <a:avLst/>
              <a:gdLst>
                <a:gd name="T0" fmla="*/ 0 w 1087"/>
                <a:gd name="T1" fmla="*/ 0 h 314"/>
                <a:gd name="T2" fmla="*/ 0 w 1087"/>
                <a:gd name="T3" fmla="*/ 314 h 314"/>
                <a:gd name="T4" fmla="*/ 0 w 1087"/>
                <a:gd name="T5" fmla="*/ 314 h 314"/>
                <a:gd name="T6" fmla="*/ 1087 w 1087"/>
                <a:gd name="T7" fmla="*/ 314 h 314"/>
                <a:gd name="T8" fmla="*/ 1087 w 1087"/>
                <a:gd name="T9" fmla="*/ 0 h 314"/>
                <a:gd name="T10" fmla="*/ 0 w 1087"/>
                <a:gd name="T11" fmla="*/ 0 h 314"/>
                <a:gd name="T12" fmla="*/ 1018 w 1087"/>
                <a:gd name="T13" fmla="*/ 245 h 314"/>
                <a:gd name="T14" fmla="*/ 69 w 1087"/>
                <a:gd name="T15" fmla="*/ 245 h 314"/>
                <a:gd name="T16" fmla="*/ 69 w 1087"/>
                <a:gd name="T17" fmla="*/ 69 h 314"/>
                <a:gd name="T18" fmla="*/ 1018 w 1087"/>
                <a:gd name="T19" fmla="*/ 69 h 314"/>
                <a:gd name="T20" fmla="*/ 1018 w 1087"/>
                <a:gd name="T21" fmla="*/ 245 h 314"/>
                <a:gd name="T22" fmla="*/ 1018 w 1087"/>
                <a:gd name="T23" fmla="*/ 245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7" h="314">
                  <a:moveTo>
                    <a:pt x="0" y="0"/>
                  </a:moveTo>
                  <a:lnTo>
                    <a:pt x="0" y="314"/>
                  </a:lnTo>
                  <a:lnTo>
                    <a:pt x="0" y="314"/>
                  </a:lnTo>
                  <a:lnTo>
                    <a:pt x="1087" y="314"/>
                  </a:lnTo>
                  <a:lnTo>
                    <a:pt x="1087" y="0"/>
                  </a:lnTo>
                  <a:lnTo>
                    <a:pt x="0" y="0"/>
                  </a:lnTo>
                  <a:close/>
                  <a:moveTo>
                    <a:pt x="1018" y="245"/>
                  </a:moveTo>
                  <a:lnTo>
                    <a:pt x="69" y="245"/>
                  </a:lnTo>
                  <a:lnTo>
                    <a:pt x="69" y="69"/>
                  </a:lnTo>
                  <a:lnTo>
                    <a:pt x="1018" y="69"/>
                  </a:lnTo>
                  <a:lnTo>
                    <a:pt x="1018" y="245"/>
                  </a:lnTo>
                  <a:lnTo>
                    <a:pt x="1018" y="245"/>
                  </a:lnTo>
                  <a:close/>
                </a:path>
              </a:pathLst>
            </a:custGeom>
            <a:solidFill>
              <a:srgbClr val="00B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578225" y="1968500"/>
              <a:ext cx="5038725" cy="1289050"/>
            </a:xfrm>
            <a:custGeom>
              <a:avLst/>
              <a:gdLst>
                <a:gd name="T0" fmla="*/ 80 w 1341"/>
                <a:gd name="T1" fmla="*/ 52 h 342"/>
                <a:gd name="T2" fmla="*/ 29 w 1341"/>
                <a:gd name="T3" fmla="*/ 77 h 342"/>
                <a:gd name="T4" fmla="*/ 212 w 1341"/>
                <a:gd name="T5" fmla="*/ 93 h 342"/>
                <a:gd name="T6" fmla="*/ 174 w 1341"/>
                <a:gd name="T7" fmla="*/ 134 h 342"/>
                <a:gd name="T8" fmla="*/ 272 w 1341"/>
                <a:gd name="T9" fmla="*/ 132 h 342"/>
                <a:gd name="T10" fmla="*/ 276 w 1341"/>
                <a:gd name="T11" fmla="*/ 38 h 342"/>
                <a:gd name="T12" fmla="*/ 327 w 1341"/>
                <a:gd name="T13" fmla="*/ 132 h 342"/>
                <a:gd name="T14" fmla="*/ 398 w 1341"/>
                <a:gd name="T15" fmla="*/ 0 h 342"/>
                <a:gd name="T16" fmla="*/ 402 w 1341"/>
                <a:gd name="T17" fmla="*/ 134 h 342"/>
                <a:gd name="T18" fmla="*/ 448 w 1341"/>
                <a:gd name="T19" fmla="*/ 93 h 342"/>
                <a:gd name="T20" fmla="*/ 448 w 1341"/>
                <a:gd name="T21" fmla="*/ 74 h 342"/>
                <a:gd name="T22" fmla="*/ 642 w 1341"/>
                <a:gd name="T23" fmla="*/ 60 h 342"/>
                <a:gd name="T24" fmla="*/ 642 w 1341"/>
                <a:gd name="T25" fmla="*/ 131 h 342"/>
                <a:gd name="T26" fmla="*/ 570 w 1341"/>
                <a:gd name="T27" fmla="*/ 111 h 342"/>
                <a:gd name="T28" fmla="*/ 530 w 1341"/>
                <a:gd name="T29" fmla="*/ 60 h 342"/>
                <a:gd name="T30" fmla="*/ 558 w 1341"/>
                <a:gd name="T31" fmla="*/ 38 h 342"/>
                <a:gd name="T32" fmla="*/ 738 w 1341"/>
                <a:gd name="T33" fmla="*/ 89 h 342"/>
                <a:gd name="T34" fmla="*/ 787 w 1341"/>
                <a:gd name="T35" fmla="*/ 45 h 342"/>
                <a:gd name="T36" fmla="*/ 736 w 1341"/>
                <a:gd name="T37" fmla="*/ 65 h 342"/>
                <a:gd name="T38" fmla="*/ 848 w 1341"/>
                <a:gd name="T39" fmla="*/ 73 h 342"/>
                <a:gd name="T40" fmla="*/ 876 w 1341"/>
                <a:gd name="T41" fmla="*/ 73 h 342"/>
                <a:gd name="T42" fmla="*/ 833 w 1341"/>
                <a:gd name="T43" fmla="*/ 91 h 342"/>
                <a:gd name="T44" fmla="*/ 965 w 1341"/>
                <a:gd name="T45" fmla="*/ 43 h 342"/>
                <a:gd name="T46" fmla="*/ 964 w 1341"/>
                <a:gd name="T47" fmla="*/ 103 h 342"/>
                <a:gd name="T48" fmla="*/ 1010 w 1341"/>
                <a:gd name="T49" fmla="*/ 132 h 342"/>
                <a:gd name="T50" fmla="*/ 1070 w 1341"/>
                <a:gd name="T51" fmla="*/ 38 h 342"/>
                <a:gd name="T52" fmla="*/ 1010 w 1341"/>
                <a:gd name="T53" fmla="*/ 89 h 342"/>
                <a:gd name="T54" fmla="*/ 1133 w 1341"/>
                <a:gd name="T55" fmla="*/ 73 h 342"/>
                <a:gd name="T56" fmla="*/ 1160 w 1341"/>
                <a:gd name="T57" fmla="*/ 73 h 342"/>
                <a:gd name="T58" fmla="*/ 1117 w 1341"/>
                <a:gd name="T59" fmla="*/ 91 h 342"/>
                <a:gd name="T60" fmla="*/ 1239 w 1341"/>
                <a:gd name="T61" fmla="*/ 39 h 342"/>
                <a:gd name="T62" fmla="*/ 1180 w 1341"/>
                <a:gd name="T63" fmla="*/ 132 h 342"/>
                <a:gd name="T64" fmla="*/ 1246 w 1341"/>
                <a:gd name="T65" fmla="*/ 85 h 342"/>
                <a:gd name="T66" fmla="*/ 1314 w 1341"/>
                <a:gd name="T67" fmla="*/ 132 h 342"/>
                <a:gd name="T68" fmla="*/ 1295 w 1341"/>
                <a:gd name="T69" fmla="*/ 110 h 342"/>
                <a:gd name="T70" fmla="*/ 18 w 1341"/>
                <a:gd name="T71" fmla="*/ 231 h 342"/>
                <a:gd name="T72" fmla="*/ 81 w 1341"/>
                <a:gd name="T73" fmla="*/ 307 h 342"/>
                <a:gd name="T74" fmla="*/ 164 w 1341"/>
                <a:gd name="T75" fmla="*/ 307 h 342"/>
                <a:gd name="T76" fmla="*/ 103 w 1341"/>
                <a:gd name="T77" fmla="*/ 214 h 342"/>
                <a:gd name="T78" fmla="*/ 252 w 1341"/>
                <a:gd name="T79" fmla="*/ 229 h 342"/>
                <a:gd name="T80" fmla="*/ 252 w 1341"/>
                <a:gd name="T81" fmla="*/ 307 h 342"/>
                <a:gd name="T82" fmla="*/ 211 w 1341"/>
                <a:gd name="T83" fmla="*/ 214 h 342"/>
                <a:gd name="T84" fmla="*/ 305 w 1341"/>
                <a:gd name="T85" fmla="*/ 212 h 342"/>
                <a:gd name="T86" fmla="*/ 338 w 1341"/>
                <a:gd name="T87" fmla="*/ 285 h 342"/>
                <a:gd name="T88" fmla="*/ 281 w 1341"/>
                <a:gd name="T89" fmla="*/ 251 h 342"/>
                <a:gd name="T90" fmla="*/ 403 w 1341"/>
                <a:gd name="T91" fmla="*/ 229 h 342"/>
                <a:gd name="T92" fmla="*/ 382 w 1341"/>
                <a:gd name="T93" fmla="*/ 228 h 342"/>
                <a:gd name="T94" fmla="*/ 430 w 1341"/>
                <a:gd name="T95" fmla="*/ 342 h 342"/>
                <a:gd name="T96" fmla="*/ 498 w 1341"/>
                <a:gd name="T97" fmla="*/ 260 h 342"/>
                <a:gd name="T98" fmla="*/ 577 w 1341"/>
                <a:gd name="T99" fmla="*/ 212 h 342"/>
                <a:gd name="T100" fmla="*/ 554 w 1341"/>
                <a:gd name="T101" fmla="*/ 307 h 342"/>
                <a:gd name="T102" fmla="*/ 623 w 1341"/>
                <a:gd name="T103" fmla="*/ 187 h 342"/>
                <a:gd name="T104" fmla="*/ 621 w 1341"/>
                <a:gd name="T105" fmla="*/ 307 h 342"/>
                <a:gd name="T106" fmla="*/ 644 w 1341"/>
                <a:gd name="T107" fmla="*/ 300 h 342"/>
                <a:gd name="T108" fmla="*/ 644 w 1341"/>
                <a:gd name="T109" fmla="*/ 240 h 342"/>
                <a:gd name="T110" fmla="*/ 661 w 1341"/>
                <a:gd name="T111" fmla="*/ 238 h 342"/>
                <a:gd name="T112" fmla="*/ 807 w 1341"/>
                <a:gd name="T113" fmla="*/ 266 h 342"/>
                <a:gd name="T114" fmla="*/ 772 w 1341"/>
                <a:gd name="T115" fmla="*/ 309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41" h="342">
                  <a:moveTo>
                    <a:pt x="29" y="132"/>
                  </a:moveTo>
                  <a:cubicBezTo>
                    <a:pt x="0" y="132"/>
                    <a:pt x="0" y="132"/>
                    <a:pt x="0" y="1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9" y="132"/>
                    <a:pt x="109" y="132"/>
                    <a:pt x="109" y="132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29" y="77"/>
                    <a:pt x="29" y="77"/>
                    <a:pt x="29" y="77"/>
                  </a:cubicBezTo>
                  <a:lnTo>
                    <a:pt x="29" y="132"/>
                  </a:lnTo>
                  <a:close/>
                  <a:moveTo>
                    <a:pt x="174" y="134"/>
                  </a:moveTo>
                  <a:cubicBezTo>
                    <a:pt x="145" y="134"/>
                    <a:pt x="125" y="116"/>
                    <a:pt x="125" y="85"/>
                  </a:cubicBezTo>
                  <a:cubicBezTo>
                    <a:pt x="125" y="56"/>
                    <a:pt x="144" y="36"/>
                    <a:pt x="170" y="36"/>
                  </a:cubicBezTo>
                  <a:cubicBezTo>
                    <a:pt x="198" y="36"/>
                    <a:pt x="212" y="55"/>
                    <a:pt x="212" y="83"/>
                  </a:cubicBezTo>
                  <a:cubicBezTo>
                    <a:pt x="212" y="93"/>
                    <a:pt x="212" y="93"/>
                    <a:pt x="212" y="93"/>
                  </a:cubicBezTo>
                  <a:cubicBezTo>
                    <a:pt x="152" y="93"/>
                    <a:pt x="152" y="93"/>
                    <a:pt x="152" y="93"/>
                  </a:cubicBezTo>
                  <a:cubicBezTo>
                    <a:pt x="155" y="108"/>
                    <a:pt x="167" y="112"/>
                    <a:pt x="178" y="112"/>
                  </a:cubicBezTo>
                  <a:cubicBezTo>
                    <a:pt x="188" y="112"/>
                    <a:pt x="195" y="110"/>
                    <a:pt x="204" y="104"/>
                  </a:cubicBezTo>
                  <a:cubicBezTo>
                    <a:pt x="205" y="104"/>
                    <a:pt x="205" y="104"/>
                    <a:pt x="205" y="104"/>
                  </a:cubicBezTo>
                  <a:cubicBezTo>
                    <a:pt x="205" y="126"/>
                    <a:pt x="205" y="126"/>
                    <a:pt x="205" y="126"/>
                  </a:cubicBezTo>
                  <a:cubicBezTo>
                    <a:pt x="198" y="131"/>
                    <a:pt x="187" y="134"/>
                    <a:pt x="174" y="134"/>
                  </a:cubicBezTo>
                  <a:close/>
                  <a:moveTo>
                    <a:pt x="152" y="74"/>
                  </a:moveTo>
                  <a:cubicBezTo>
                    <a:pt x="186" y="74"/>
                    <a:pt x="186" y="74"/>
                    <a:pt x="186" y="74"/>
                  </a:cubicBezTo>
                  <a:cubicBezTo>
                    <a:pt x="186" y="64"/>
                    <a:pt x="182" y="58"/>
                    <a:pt x="170" y="58"/>
                  </a:cubicBezTo>
                  <a:cubicBezTo>
                    <a:pt x="162" y="58"/>
                    <a:pt x="155" y="61"/>
                    <a:pt x="152" y="74"/>
                  </a:cubicBezTo>
                  <a:close/>
                  <a:moveTo>
                    <a:pt x="287" y="77"/>
                  </a:moveTo>
                  <a:cubicBezTo>
                    <a:pt x="272" y="132"/>
                    <a:pt x="272" y="132"/>
                    <a:pt x="272" y="132"/>
                  </a:cubicBezTo>
                  <a:cubicBezTo>
                    <a:pt x="247" y="132"/>
                    <a:pt x="247" y="132"/>
                    <a:pt x="247" y="132"/>
                  </a:cubicBezTo>
                  <a:cubicBezTo>
                    <a:pt x="218" y="39"/>
                    <a:pt x="218" y="39"/>
                    <a:pt x="218" y="39"/>
                  </a:cubicBezTo>
                  <a:cubicBezTo>
                    <a:pt x="218" y="38"/>
                    <a:pt x="218" y="38"/>
                    <a:pt x="218" y="38"/>
                  </a:cubicBezTo>
                  <a:cubicBezTo>
                    <a:pt x="246" y="38"/>
                    <a:pt x="246" y="38"/>
                    <a:pt x="246" y="38"/>
                  </a:cubicBezTo>
                  <a:cubicBezTo>
                    <a:pt x="261" y="93"/>
                    <a:pt x="261" y="93"/>
                    <a:pt x="261" y="93"/>
                  </a:cubicBezTo>
                  <a:cubicBezTo>
                    <a:pt x="276" y="38"/>
                    <a:pt x="276" y="38"/>
                    <a:pt x="276" y="38"/>
                  </a:cubicBezTo>
                  <a:cubicBezTo>
                    <a:pt x="298" y="38"/>
                    <a:pt x="298" y="38"/>
                    <a:pt x="298" y="38"/>
                  </a:cubicBezTo>
                  <a:cubicBezTo>
                    <a:pt x="313" y="93"/>
                    <a:pt x="313" y="93"/>
                    <a:pt x="313" y="93"/>
                  </a:cubicBezTo>
                  <a:cubicBezTo>
                    <a:pt x="329" y="38"/>
                    <a:pt x="329" y="38"/>
                    <a:pt x="329" y="38"/>
                  </a:cubicBezTo>
                  <a:cubicBezTo>
                    <a:pt x="355" y="38"/>
                    <a:pt x="355" y="38"/>
                    <a:pt x="355" y="38"/>
                  </a:cubicBezTo>
                  <a:cubicBezTo>
                    <a:pt x="355" y="39"/>
                    <a:pt x="355" y="39"/>
                    <a:pt x="355" y="39"/>
                  </a:cubicBezTo>
                  <a:cubicBezTo>
                    <a:pt x="327" y="132"/>
                    <a:pt x="327" y="132"/>
                    <a:pt x="327" y="132"/>
                  </a:cubicBezTo>
                  <a:cubicBezTo>
                    <a:pt x="302" y="132"/>
                    <a:pt x="302" y="132"/>
                    <a:pt x="302" y="132"/>
                  </a:cubicBezTo>
                  <a:lnTo>
                    <a:pt x="287" y="77"/>
                  </a:lnTo>
                  <a:close/>
                  <a:moveTo>
                    <a:pt x="402" y="134"/>
                  </a:moveTo>
                  <a:cubicBezTo>
                    <a:pt x="379" y="134"/>
                    <a:pt x="370" y="125"/>
                    <a:pt x="370" y="104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398" y="0"/>
                    <a:pt x="398" y="0"/>
                    <a:pt x="398" y="0"/>
                  </a:cubicBezTo>
                  <a:cubicBezTo>
                    <a:pt x="398" y="102"/>
                    <a:pt x="398" y="102"/>
                    <a:pt x="398" y="102"/>
                  </a:cubicBezTo>
                  <a:cubicBezTo>
                    <a:pt x="398" y="108"/>
                    <a:pt x="400" y="111"/>
                    <a:pt x="406" y="111"/>
                  </a:cubicBezTo>
                  <a:cubicBezTo>
                    <a:pt x="408" y="111"/>
                    <a:pt x="410" y="110"/>
                    <a:pt x="412" y="109"/>
                  </a:cubicBezTo>
                  <a:cubicBezTo>
                    <a:pt x="413" y="109"/>
                    <a:pt x="413" y="109"/>
                    <a:pt x="413" y="109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0" y="133"/>
                    <a:pt x="406" y="134"/>
                    <a:pt x="402" y="134"/>
                  </a:cubicBezTo>
                  <a:close/>
                  <a:moveTo>
                    <a:pt x="469" y="134"/>
                  </a:moveTo>
                  <a:cubicBezTo>
                    <a:pt x="440" y="134"/>
                    <a:pt x="420" y="116"/>
                    <a:pt x="420" y="85"/>
                  </a:cubicBezTo>
                  <a:cubicBezTo>
                    <a:pt x="420" y="56"/>
                    <a:pt x="440" y="36"/>
                    <a:pt x="465" y="36"/>
                  </a:cubicBezTo>
                  <a:cubicBezTo>
                    <a:pt x="494" y="36"/>
                    <a:pt x="507" y="55"/>
                    <a:pt x="507" y="83"/>
                  </a:cubicBezTo>
                  <a:cubicBezTo>
                    <a:pt x="507" y="93"/>
                    <a:pt x="507" y="93"/>
                    <a:pt x="507" y="93"/>
                  </a:cubicBezTo>
                  <a:cubicBezTo>
                    <a:pt x="448" y="93"/>
                    <a:pt x="448" y="93"/>
                    <a:pt x="448" y="93"/>
                  </a:cubicBezTo>
                  <a:cubicBezTo>
                    <a:pt x="451" y="108"/>
                    <a:pt x="462" y="112"/>
                    <a:pt x="474" y="112"/>
                  </a:cubicBezTo>
                  <a:cubicBezTo>
                    <a:pt x="484" y="112"/>
                    <a:pt x="491" y="110"/>
                    <a:pt x="500" y="104"/>
                  </a:cubicBezTo>
                  <a:cubicBezTo>
                    <a:pt x="501" y="104"/>
                    <a:pt x="501" y="104"/>
                    <a:pt x="501" y="104"/>
                  </a:cubicBezTo>
                  <a:cubicBezTo>
                    <a:pt x="501" y="126"/>
                    <a:pt x="501" y="126"/>
                    <a:pt x="501" y="126"/>
                  </a:cubicBezTo>
                  <a:cubicBezTo>
                    <a:pt x="493" y="131"/>
                    <a:pt x="482" y="134"/>
                    <a:pt x="469" y="134"/>
                  </a:cubicBezTo>
                  <a:close/>
                  <a:moveTo>
                    <a:pt x="448" y="74"/>
                  </a:moveTo>
                  <a:cubicBezTo>
                    <a:pt x="482" y="74"/>
                    <a:pt x="482" y="74"/>
                    <a:pt x="482" y="74"/>
                  </a:cubicBezTo>
                  <a:cubicBezTo>
                    <a:pt x="481" y="64"/>
                    <a:pt x="477" y="58"/>
                    <a:pt x="466" y="58"/>
                  </a:cubicBezTo>
                  <a:cubicBezTo>
                    <a:pt x="457" y="58"/>
                    <a:pt x="450" y="61"/>
                    <a:pt x="448" y="74"/>
                  </a:cubicBezTo>
                  <a:close/>
                  <a:moveTo>
                    <a:pt x="622" y="38"/>
                  </a:moveTo>
                  <a:cubicBezTo>
                    <a:pt x="642" y="38"/>
                    <a:pt x="642" y="38"/>
                    <a:pt x="642" y="38"/>
                  </a:cubicBezTo>
                  <a:cubicBezTo>
                    <a:pt x="642" y="60"/>
                    <a:pt x="642" y="60"/>
                    <a:pt x="642" y="60"/>
                  </a:cubicBezTo>
                  <a:cubicBezTo>
                    <a:pt x="622" y="60"/>
                    <a:pt x="622" y="60"/>
                    <a:pt x="622" y="60"/>
                  </a:cubicBezTo>
                  <a:cubicBezTo>
                    <a:pt x="622" y="99"/>
                    <a:pt x="622" y="99"/>
                    <a:pt x="622" y="99"/>
                  </a:cubicBezTo>
                  <a:cubicBezTo>
                    <a:pt x="622" y="107"/>
                    <a:pt x="625" y="111"/>
                    <a:pt x="633" y="111"/>
                  </a:cubicBezTo>
                  <a:cubicBezTo>
                    <a:pt x="636" y="111"/>
                    <a:pt x="639" y="110"/>
                    <a:pt x="642" y="109"/>
                  </a:cubicBezTo>
                  <a:cubicBezTo>
                    <a:pt x="642" y="109"/>
                    <a:pt x="642" y="109"/>
                    <a:pt x="642" y="109"/>
                  </a:cubicBezTo>
                  <a:cubicBezTo>
                    <a:pt x="642" y="131"/>
                    <a:pt x="642" y="131"/>
                    <a:pt x="642" y="131"/>
                  </a:cubicBezTo>
                  <a:cubicBezTo>
                    <a:pt x="639" y="132"/>
                    <a:pt x="633" y="134"/>
                    <a:pt x="625" y="134"/>
                  </a:cubicBezTo>
                  <a:cubicBezTo>
                    <a:pt x="603" y="134"/>
                    <a:pt x="594" y="124"/>
                    <a:pt x="594" y="100"/>
                  </a:cubicBezTo>
                  <a:cubicBezTo>
                    <a:pt x="594" y="60"/>
                    <a:pt x="594" y="60"/>
                    <a:pt x="594" y="60"/>
                  </a:cubicBezTo>
                  <a:cubicBezTo>
                    <a:pt x="558" y="60"/>
                    <a:pt x="558" y="60"/>
                    <a:pt x="558" y="60"/>
                  </a:cubicBezTo>
                  <a:cubicBezTo>
                    <a:pt x="558" y="99"/>
                    <a:pt x="558" y="99"/>
                    <a:pt x="558" y="99"/>
                  </a:cubicBezTo>
                  <a:cubicBezTo>
                    <a:pt x="558" y="107"/>
                    <a:pt x="561" y="111"/>
                    <a:pt x="570" y="111"/>
                  </a:cubicBezTo>
                  <a:cubicBezTo>
                    <a:pt x="572" y="111"/>
                    <a:pt x="575" y="110"/>
                    <a:pt x="578" y="109"/>
                  </a:cubicBezTo>
                  <a:cubicBezTo>
                    <a:pt x="579" y="109"/>
                    <a:pt x="579" y="109"/>
                    <a:pt x="579" y="109"/>
                  </a:cubicBezTo>
                  <a:cubicBezTo>
                    <a:pt x="579" y="131"/>
                    <a:pt x="579" y="131"/>
                    <a:pt x="579" y="131"/>
                  </a:cubicBezTo>
                  <a:cubicBezTo>
                    <a:pt x="575" y="132"/>
                    <a:pt x="570" y="134"/>
                    <a:pt x="562" y="134"/>
                  </a:cubicBezTo>
                  <a:cubicBezTo>
                    <a:pt x="539" y="134"/>
                    <a:pt x="530" y="124"/>
                    <a:pt x="530" y="100"/>
                  </a:cubicBezTo>
                  <a:cubicBezTo>
                    <a:pt x="530" y="60"/>
                    <a:pt x="530" y="60"/>
                    <a:pt x="530" y="60"/>
                  </a:cubicBezTo>
                  <a:cubicBezTo>
                    <a:pt x="516" y="60"/>
                    <a:pt x="516" y="60"/>
                    <a:pt x="516" y="60"/>
                  </a:cubicBezTo>
                  <a:cubicBezTo>
                    <a:pt x="516" y="38"/>
                    <a:pt x="516" y="38"/>
                    <a:pt x="516" y="38"/>
                  </a:cubicBezTo>
                  <a:cubicBezTo>
                    <a:pt x="530" y="38"/>
                    <a:pt x="530" y="38"/>
                    <a:pt x="530" y="38"/>
                  </a:cubicBezTo>
                  <a:cubicBezTo>
                    <a:pt x="530" y="12"/>
                    <a:pt x="530" y="12"/>
                    <a:pt x="530" y="12"/>
                  </a:cubicBezTo>
                  <a:cubicBezTo>
                    <a:pt x="558" y="12"/>
                    <a:pt x="558" y="12"/>
                    <a:pt x="558" y="12"/>
                  </a:cubicBezTo>
                  <a:cubicBezTo>
                    <a:pt x="558" y="38"/>
                    <a:pt x="558" y="38"/>
                    <a:pt x="558" y="38"/>
                  </a:cubicBezTo>
                  <a:cubicBezTo>
                    <a:pt x="594" y="38"/>
                    <a:pt x="594" y="38"/>
                    <a:pt x="594" y="38"/>
                  </a:cubicBezTo>
                  <a:cubicBezTo>
                    <a:pt x="594" y="12"/>
                    <a:pt x="594" y="12"/>
                    <a:pt x="594" y="12"/>
                  </a:cubicBezTo>
                  <a:cubicBezTo>
                    <a:pt x="622" y="12"/>
                    <a:pt x="622" y="12"/>
                    <a:pt x="622" y="12"/>
                  </a:cubicBezTo>
                  <a:cubicBezTo>
                    <a:pt x="622" y="38"/>
                    <a:pt x="622" y="38"/>
                    <a:pt x="622" y="38"/>
                  </a:cubicBezTo>
                  <a:close/>
                  <a:moveTo>
                    <a:pt x="787" y="45"/>
                  </a:moveTo>
                  <a:cubicBezTo>
                    <a:pt x="787" y="73"/>
                    <a:pt x="768" y="89"/>
                    <a:pt x="738" y="89"/>
                  </a:cubicBezTo>
                  <a:cubicBezTo>
                    <a:pt x="718" y="89"/>
                    <a:pt x="718" y="89"/>
                    <a:pt x="718" y="89"/>
                  </a:cubicBezTo>
                  <a:cubicBezTo>
                    <a:pt x="718" y="132"/>
                    <a:pt x="718" y="132"/>
                    <a:pt x="718" y="132"/>
                  </a:cubicBezTo>
                  <a:cubicBezTo>
                    <a:pt x="689" y="132"/>
                    <a:pt x="689" y="132"/>
                    <a:pt x="689" y="132"/>
                  </a:cubicBezTo>
                  <a:cubicBezTo>
                    <a:pt x="689" y="0"/>
                    <a:pt x="689" y="0"/>
                    <a:pt x="68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68" y="0"/>
                    <a:pt x="787" y="16"/>
                    <a:pt x="787" y="45"/>
                  </a:cubicBezTo>
                  <a:close/>
                  <a:moveTo>
                    <a:pt x="736" y="65"/>
                  </a:moveTo>
                  <a:cubicBezTo>
                    <a:pt x="751" y="65"/>
                    <a:pt x="758" y="57"/>
                    <a:pt x="758" y="45"/>
                  </a:cubicBezTo>
                  <a:cubicBezTo>
                    <a:pt x="758" y="33"/>
                    <a:pt x="751" y="24"/>
                    <a:pt x="736" y="24"/>
                  </a:cubicBezTo>
                  <a:cubicBezTo>
                    <a:pt x="718" y="24"/>
                    <a:pt x="718" y="24"/>
                    <a:pt x="718" y="24"/>
                  </a:cubicBezTo>
                  <a:cubicBezTo>
                    <a:pt x="718" y="65"/>
                    <a:pt x="718" y="65"/>
                    <a:pt x="718" y="65"/>
                  </a:cubicBezTo>
                  <a:lnTo>
                    <a:pt x="736" y="65"/>
                  </a:lnTo>
                  <a:close/>
                  <a:moveTo>
                    <a:pt x="849" y="123"/>
                  </a:moveTo>
                  <a:cubicBezTo>
                    <a:pt x="843" y="130"/>
                    <a:pt x="834" y="134"/>
                    <a:pt x="824" y="134"/>
                  </a:cubicBezTo>
                  <a:cubicBezTo>
                    <a:pt x="806" y="134"/>
                    <a:pt x="791" y="122"/>
                    <a:pt x="791" y="103"/>
                  </a:cubicBezTo>
                  <a:cubicBezTo>
                    <a:pt x="791" y="84"/>
                    <a:pt x="806" y="72"/>
                    <a:pt x="827" y="72"/>
                  </a:cubicBezTo>
                  <a:cubicBezTo>
                    <a:pt x="834" y="72"/>
                    <a:pt x="841" y="73"/>
                    <a:pt x="848" y="75"/>
                  </a:cubicBezTo>
                  <a:cubicBezTo>
                    <a:pt x="848" y="73"/>
                    <a:pt x="848" y="73"/>
                    <a:pt x="848" y="73"/>
                  </a:cubicBezTo>
                  <a:cubicBezTo>
                    <a:pt x="848" y="63"/>
                    <a:pt x="842" y="59"/>
                    <a:pt x="827" y="59"/>
                  </a:cubicBezTo>
                  <a:cubicBezTo>
                    <a:pt x="818" y="59"/>
                    <a:pt x="809" y="62"/>
                    <a:pt x="801" y="66"/>
                  </a:cubicBezTo>
                  <a:cubicBezTo>
                    <a:pt x="800" y="66"/>
                    <a:pt x="800" y="66"/>
                    <a:pt x="800" y="66"/>
                  </a:cubicBezTo>
                  <a:cubicBezTo>
                    <a:pt x="800" y="44"/>
                    <a:pt x="800" y="44"/>
                    <a:pt x="800" y="44"/>
                  </a:cubicBezTo>
                  <a:cubicBezTo>
                    <a:pt x="807" y="40"/>
                    <a:pt x="820" y="36"/>
                    <a:pt x="832" y="36"/>
                  </a:cubicBezTo>
                  <a:cubicBezTo>
                    <a:pt x="860" y="36"/>
                    <a:pt x="876" y="49"/>
                    <a:pt x="876" y="73"/>
                  </a:cubicBezTo>
                  <a:cubicBezTo>
                    <a:pt x="876" y="132"/>
                    <a:pt x="876" y="132"/>
                    <a:pt x="876" y="132"/>
                  </a:cubicBezTo>
                  <a:cubicBezTo>
                    <a:pt x="849" y="132"/>
                    <a:pt x="849" y="132"/>
                    <a:pt x="849" y="132"/>
                  </a:cubicBezTo>
                  <a:cubicBezTo>
                    <a:pt x="849" y="123"/>
                    <a:pt x="849" y="123"/>
                    <a:pt x="849" y="123"/>
                  </a:cubicBezTo>
                  <a:close/>
                  <a:moveTo>
                    <a:pt x="848" y="102"/>
                  </a:moveTo>
                  <a:cubicBezTo>
                    <a:pt x="848" y="94"/>
                    <a:pt x="848" y="94"/>
                    <a:pt x="848" y="94"/>
                  </a:cubicBezTo>
                  <a:cubicBezTo>
                    <a:pt x="844" y="92"/>
                    <a:pt x="838" y="91"/>
                    <a:pt x="833" y="91"/>
                  </a:cubicBezTo>
                  <a:cubicBezTo>
                    <a:pt x="823" y="91"/>
                    <a:pt x="818" y="95"/>
                    <a:pt x="818" y="102"/>
                  </a:cubicBezTo>
                  <a:cubicBezTo>
                    <a:pt x="818" y="110"/>
                    <a:pt x="823" y="113"/>
                    <a:pt x="832" y="113"/>
                  </a:cubicBezTo>
                  <a:cubicBezTo>
                    <a:pt x="839" y="113"/>
                    <a:pt x="845" y="109"/>
                    <a:pt x="848" y="102"/>
                  </a:cubicBezTo>
                  <a:close/>
                  <a:moveTo>
                    <a:pt x="890" y="85"/>
                  </a:moveTo>
                  <a:cubicBezTo>
                    <a:pt x="890" y="55"/>
                    <a:pt x="911" y="36"/>
                    <a:pt x="939" y="36"/>
                  </a:cubicBezTo>
                  <a:cubicBezTo>
                    <a:pt x="949" y="36"/>
                    <a:pt x="958" y="38"/>
                    <a:pt x="965" y="43"/>
                  </a:cubicBezTo>
                  <a:cubicBezTo>
                    <a:pt x="965" y="67"/>
                    <a:pt x="965" y="67"/>
                    <a:pt x="965" y="67"/>
                  </a:cubicBezTo>
                  <a:cubicBezTo>
                    <a:pt x="964" y="67"/>
                    <a:pt x="964" y="67"/>
                    <a:pt x="964" y="67"/>
                  </a:cubicBezTo>
                  <a:cubicBezTo>
                    <a:pt x="958" y="62"/>
                    <a:pt x="951" y="60"/>
                    <a:pt x="943" y="60"/>
                  </a:cubicBezTo>
                  <a:cubicBezTo>
                    <a:pt x="929" y="60"/>
                    <a:pt x="918" y="69"/>
                    <a:pt x="918" y="85"/>
                  </a:cubicBezTo>
                  <a:cubicBezTo>
                    <a:pt x="918" y="101"/>
                    <a:pt x="929" y="110"/>
                    <a:pt x="943" y="110"/>
                  </a:cubicBezTo>
                  <a:cubicBezTo>
                    <a:pt x="951" y="110"/>
                    <a:pt x="958" y="108"/>
                    <a:pt x="964" y="103"/>
                  </a:cubicBezTo>
                  <a:cubicBezTo>
                    <a:pt x="965" y="103"/>
                    <a:pt x="965" y="103"/>
                    <a:pt x="965" y="103"/>
                  </a:cubicBezTo>
                  <a:cubicBezTo>
                    <a:pt x="965" y="127"/>
                    <a:pt x="965" y="127"/>
                    <a:pt x="965" y="127"/>
                  </a:cubicBezTo>
                  <a:cubicBezTo>
                    <a:pt x="958" y="132"/>
                    <a:pt x="949" y="134"/>
                    <a:pt x="939" y="134"/>
                  </a:cubicBezTo>
                  <a:cubicBezTo>
                    <a:pt x="911" y="134"/>
                    <a:pt x="890" y="115"/>
                    <a:pt x="890" y="85"/>
                  </a:cubicBezTo>
                  <a:close/>
                  <a:moveTo>
                    <a:pt x="1010" y="89"/>
                  </a:moveTo>
                  <a:cubicBezTo>
                    <a:pt x="1010" y="132"/>
                    <a:pt x="1010" y="132"/>
                    <a:pt x="1010" y="132"/>
                  </a:cubicBezTo>
                  <a:cubicBezTo>
                    <a:pt x="983" y="132"/>
                    <a:pt x="983" y="132"/>
                    <a:pt x="983" y="132"/>
                  </a:cubicBezTo>
                  <a:cubicBezTo>
                    <a:pt x="983" y="0"/>
                    <a:pt x="983" y="0"/>
                    <a:pt x="983" y="0"/>
                  </a:cubicBezTo>
                  <a:cubicBezTo>
                    <a:pt x="1010" y="0"/>
                    <a:pt x="1010" y="0"/>
                    <a:pt x="1010" y="0"/>
                  </a:cubicBezTo>
                  <a:cubicBezTo>
                    <a:pt x="1010" y="75"/>
                    <a:pt x="1010" y="75"/>
                    <a:pt x="1010" y="75"/>
                  </a:cubicBezTo>
                  <a:cubicBezTo>
                    <a:pt x="1039" y="38"/>
                    <a:pt x="1039" y="38"/>
                    <a:pt x="1039" y="38"/>
                  </a:cubicBezTo>
                  <a:cubicBezTo>
                    <a:pt x="1070" y="38"/>
                    <a:pt x="1070" y="38"/>
                    <a:pt x="1070" y="38"/>
                  </a:cubicBezTo>
                  <a:cubicBezTo>
                    <a:pt x="1070" y="39"/>
                    <a:pt x="1070" y="39"/>
                    <a:pt x="1070" y="39"/>
                  </a:cubicBezTo>
                  <a:cubicBezTo>
                    <a:pt x="1036" y="82"/>
                    <a:pt x="1036" y="82"/>
                    <a:pt x="1036" y="82"/>
                  </a:cubicBezTo>
                  <a:cubicBezTo>
                    <a:pt x="1070" y="131"/>
                    <a:pt x="1070" y="131"/>
                    <a:pt x="1070" y="131"/>
                  </a:cubicBezTo>
                  <a:cubicBezTo>
                    <a:pt x="1070" y="132"/>
                    <a:pt x="1070" y="132"/>
                    <a:pt x="1070" y="132"/>
                  </a:cubicBezTo>
                  <a:cubicBezTo>
                    <a:pt x="1038" y="132"/>
                    <a:pt x="1038" y="132"/>
                    <a:pt x="1038" y="132"/>
                  </a:cubicBezTo>
                  <a:lnTo>
                    <a:pt x="1010" y="89"/>
                  </a:lnTo>
                  <a:close/>
                  <a:moveTo>
                    <a:pt x="1133" y="123"/>
                  </a:moveTo>
                  <a:cubicBezTo>
                    <a:pt x="1127" y="130"/>
                    <a:pt x="1118" y="134"/>
                    <a:pt x="1108" y="134"/>
                  </a:cubicBezTo>
                  <a:cubicBezTo>
                    <a:pt x="1090" y="134"/>
                    <a:pt x="1075" y="122"/>
                    <a:pt x="1075" y="103"/>
                  </a:cubicBezTo>
                  <a:cubicBezTo>
                    <a:pt x="1075" y="84"/>
                    <a:pt x="1090" y="72"/>
                    <a:pt x="1112" y="72"/>
                  </a:cubicBezTo>
                  <a:cubicBezTo>
                    <a:pt x="1118" y="72"/>
                    <a:pt x="1125" y="73"/>
                    <a:pt x="1133" y="75"/>
                  </a:cubicBezTo>
                  <a:cubicBezTo>
                    <a:pt x="1133" y="73"/>
                    <a:pt x="1133" y="73"/>
                    <a:pt x="1133" y="73"/>
                  </a:cubicBezTo>
                  <a:cubicBezTo>
                    <a:pt x="1133" y="63"/>
                    <a:pt x="1127" y="59"/>
                    <a:pt x="1112" y="59"/>
                  </a:cubicBezTo>
                  <a:cubicBezTo>
                    <a:pt x="1102" y="59"/>
                    <a:pt x="1093" y="62"/>
                    <a:pt x="1086" y="66"/>
                  </a:cubicBezTo>
                  <a:cubicBezTo>
                    <a:pt x="1084" y="66"/>
                    <a:pt x="1084" y="66"/>
                    <a:pt x="1084" y="66"/>
                  </a:cubicBezTo>
                  <a:cubicBezTo>
                    <a:pt x="1084" y="44"/>
                    <a:pt x="1084" y="44"/>
                    <a:pt x="1084" y="44"/>
                  </a:cubicBezTo>
                  <a:cubicBezTo>
                    <a:pt x="1092" y="40"/>
                    <a:pt x="1104" y="36"/>
                    <a:pt x="1117" y="36"/>
                  </a:cubicBezTo>
                  <a:cubicBezTo>
                    <a:pt x="1145" y="36"/>
                    <a:pt x="1160" y="49"/>
                    <a:pt x="1160" y="73"/>
                  </a:cubicBezTo>
                  <a:cubicBezTo>
                    <a:pt x="1160" y="132"/>
                    <a:pt x="1160" y="132"/>
                    <a:pt x="1160" y="132"/>
                  </a:cubicBezTo>
                  <a:cubicBezTo>
                    <a:pt x="1133" y="132"/>
                    <a:pt x="1133" y="132"/>
                    <a:pt x="1133" y="132"/>
                  </a:cubicBezTo>
                  <a:cubicBezTo>
                    <a:pt x="1133" y="123"/>
                    <a:pt x="1133" y="123"/>
                    <a:pt x="1133" y="123"/>
                  </a:cubicBezTo>
                  <a:close/>
                  <a:moveTo>
                    <a:pt x="1133" y="102"/>
                  </a:moveTo>
                  <a:cubicBezTo>
                    <a:pt x="1133" y="94"/>
                    <a:pt x="1133" y="94"/>
                    <a:pt x="1133" y="94"/>
                  </a:cubicBezTo>
                  <a:cubicBezTo>
                    <a:pt x="1128" y="92"/>
                    <a:pt x="1123" y="91"/>
                    <a:pt x="1117" y="91"/>
                  </a:cubicBezTo>
                  <a:cubicBezTo>
                    <a:pt x="1108" y="91"/>
                    <a:pt x="1103" y="95"/>
                    <a:pt x="1103" y="102"/>
                  </a:cubicBezTo>
                  <a:cubicBezTo>
                    <a:pt x="1103" y="110"/>
                    <a:pt x="1108" y="113"/>
                    <a:pt x="1116" y="113"/>
                  </a:cubicBezTo>
                  <a:cubicBezTo>
                    <a:pt x="1124" y="113"/>
                    <a:pt x="1130" y="109"/>
                    <a:pt x="1133" y="102"/>
                  </a:cubicBezTo>
                  <a:close/>
                  <a:moveTo>
                    <a:pt x="1207" y="53"/>
                  </a:moveTo>
                  <a:cubicBezTo>
                    <a:pt x="1212" y="43"/>
                    <a:pt x="1220" y="37"/>
                    <a:pt x="1230" y="37"/>
                  </a:cubicBezTo>
                  <a:cubicBezTo>
                    <a:pt x="1234" y="37"/>
                    <a:pt x="1238" y="38"/>
                    <a:pt x="1239" y="39"/>
                  </a:cubicBezTo>
                  <a:cubicBezTo>
                    <a:pt x="1239" y="65"/>
                    <a:pt x="1239" y="65"/>
                    <a:pt x="1239" y="65"/>
                  </a:cubicBezTo>
                  <a:cubicBezTo>
                    <a:pt x="1238" y="65"/>
                    <a:pt x="1238" y="65"/>
                    <a:pt x="1238" y="65"/>
                  </a:cubicBezTo>
                  <a:cubicBezTo>
                    <a:pt x="1235" y="64"/>
                    <a:pt x="1231" y="63"/>
                    <a:pt x="1226" y="63"/>
                  </a:cubicBezTo>
                  <a:cubicBezTo>
                    <a:pt x="1217" y="63"/>
                    <a:pt x="1210" y="68"/>
                    <a:pt x="1208" y="78"/>
                  </a:cubicBezTo>
                  <a:cubicBezTo>
                    <a:pt x="1208" y="132"/>
                    <a:pt x="1208" y="132"/>
                    <a:pt x="1208" y="132"/>
                  </a:cubicBezTo>
                  <a:cubicBezTo>
                    <a:pt x="1180" y="132"/>
                    <a:pt x="1180" y="132"/>
                    <a:pt x="1180" y="132"/>
                  </a:cubicBezTo>
                  <a:cubicBezTo>
                    <a:pt x="1180" y="38"/>
                    <a:pt x="1180" y="38"/>
                    <a:pt x="1180" y="38"/>
                  </a:cubicBezTo>
                  <a:cubicBezTo>
                    <a:pt x="1207" y="38"/>
                    <a:pt x="1207" y="38"/>
                    <a:pt x="1207" y="38"/>
                  </a:cubicBezTo>
                  <a:cubicBezTo>
                    <a:pt x="1207" y="53"/>
                    <a:pt x="1207" y="53"/>
                    <a:pt x="1207" y="53"/>
                  </a:cubicBezTo>
                  <a:close/>
                  <a:moveTo>
                    <a:pt x="1314" y="122"/>
                  </a:moveTo>
                  <a:cubicBezTo>
                    <a:pt x="1308" y="130"/>
                    <a:pt x="1298" y="134"/>
                    <a:pt x="1286" y="134"/>
                  </a:cubicBezTo>
                  <a:cubicBezTo>
                    <a:pt x="1262" y="134"/>
                    <a:pt x="1246" y="112"/>
                    <a:pt x="1246" y="85"/>
                  </a:cubicBezTo>
                  <a:cubicBezTo>
                    <a:pt x="1246" y="58"/>
                    <a:pt x="1262" y="36"/>
                    <a:pt x="1286" y="36"/>
                  </a:cubicBezTo>
                  <a:cubicBezTo>
                    <a:pt x="1298" y="36"/>
                    <a:pt x="1307" y="40"/>
                    <a:pt x="1313" y="47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341" y="0"/>
                    <a:pt x="1341" y="0"/>
                    <a:pt x="1341" y="0"/>
                  </a:cubicBezTo>
                  <a:cubicBezTo>
                    <a:pt x="1341" y="132"/>
                    <a:pt x="1341" y="132"/>
                    <a:pt x="1341" y="132"/>
                  </a:cubicBezTo>
                  <a:cubicBezTo>
                    <a:pt x="1314" y="132"/>
                    <a:pt x="1314" y="132"/>
                    <a:pt x="1314" y="132"/>
                  </a:cubicBezTo>
                  <a:cubicBezTo>
                    <a:pt x="1314" y="122"/>
                    <a:pt x="1314" y="122"/>
                    <a:pt x="1314" y="122"/>
                  </a:cubicBezTo>
                  <a:close/>
                  <a:moveTo>
                    <a:pt x="1313" y="100"/>
                  </a:moveTo>
                  <a:cubicBezTo>
                    <a:pt x="1313" y="70"/>
                    <a:pt x="1313" y="70"/>
                    <a:pt x="1313" y="70"/>
                  </a:cubicBezTo>
                  <a:cubicBezTo>
                    <a:pt x="1308" y="63"/>
                    <a:pt x="1302" y="60"/>
                    <a:pt x="1295" y="60"/>
                  </a:cubicBezTo>
                  <a:cubicBezTo>
                    <a:pt x="1283" y="60"/>
                    <a:pt x="1275" y="69"/>
                    <a:pt x="1275" y="85"/>
                  </a:cubicBezTo>
                  <a:cubicBezTo>
                    <a:pt x="1275" y="101"/>
                    <a:pt x="1283" y="110"/>
                    <a:pt x="1295" y="110"/>
                  </a:cubicBezTo>
                  <a:cubicBezTo>
                    <a:pt x="1302" y="110"/>
                    <a:pt x="1308" y="107"/>
                    <a:pt x="1313" y="100"/>
                  </a:cubicBezTo>
                  <a:close/>
                  <a:moveTo>
                    <a:pt x="0" y="175"/>
                  </a:moveTo>
                  <a:cubicBezTo>
                    <a:pt x="81" y="175"/>
                    <a:pt x="81" y="175"/>
                    <a:pt x="81" y="175"/>
                  </a:cubicBezTo>
                  <a:cubicBezTo>
                    <a:pt x="81" y="191"/>
                    <a:pt x="81" y="191"/>
                    <a:pt x="81" y="191"/>
                  </a:cubicBezTo>
                  <a:cubicBezTo>
                    <a:pt x="18" y="191"/>
                    <a:pt x="18" y="191"/>
                    <a:pt x="18" y="191"/>
                  </a:cubicBezTo>
                  <a:cubicBezTo>
                    <a:pt x="18" y="231"/>
                    <a:pt x="18" y="231"/>
                    <a:pt x="18" y="231"/>
                  </a:cubicBezTo>
                  <a:cubicBezTo>
                    <a:pt x="75" y="231"/>
                    <a:pt x="75" y="231"/>
                    <a:pt x="75" y="231"/>
                  </a:cubicBezTo>
                  <a:cubicBezTo>
                    <a:pt x="75" y="247"/>
                    <a:pt x="75" y="247"/>
                    <a:pt x="75" y="247"/>
                  </a:cubicBezTo>
                  <a:cubicBezTo>
                    <a:pt x="18" y="247"/>
                    <a:pt x="18" y="247"/>
                    <a:pt x="18" y="247"/>
                  </a:cubicBezTo>
                  <a:cubicBezTo>
                    <a:pt x="18" y="291"/>
                    <a:pt x="18" y="291"/>
                    <a:pt x="18" y="291"/>
                  </a:cubicBezTo>
                  <a:cubicBezTo>
                    <a:pt x="81" y="291"/>
                    <a:pt x="81" y="291"/>
                    <a:pt x="81" y="291"/>
                  </a:cubicBezTo>
                  <a:cubicBezTo>
                    <a:pt x="81" y="307"/>
                    <a:pt x="81" y="307"/>
                    <a:pt x="81" y="307"/>
                  </a:cubicBezTo>
                  <a:cubicBezTo>
                    <a:pt x="0" y="307"/>
                    <a:pt x="0" y="307"/>
                    <a:pt x="0" y="307"/>
                  </a:cubicBezTo>
                  <a:lnTo>
                    <a:pt x="0" y="175"/>
                  </a:lnTo>
                  <a:close/>
                  <a:moveTo>
                    <a:pt x="149" y="212"/>
                  </a:moveTo>
                  <a:cubicBezTo>
                    <a:pt x="169" y="212"/>
                    <a:pt x="181" y="226"/>
                    <a:pt x="181" y="248"/>
                  </a:cubicBezTo>
                  <a:cubicBezTo>
                    <a:pt x="181" y="307"/>
                    <a:pt x="181" y="307"/>
                    <a:pt x="181" y="307"/>
                  </a:cubicBezTo>
                  <a:cubicBezTo>
                    <a:pt x="164" y="307"/>
                    <a:pt x="164" y="307"/>
                    <a:pt x="164" y="307"/>
                  </a:cubicBezTo>
                  <a:cubicBezTo>
                    <a:pt x="164" y="249"/>
                    <a:pt x="164" y="249"/>
                    <a:pt x="164" y="249"/>
                  </a:cubicBezTo>
                  <a:cubicBezTo>
                    <a:pt x="164" y="237"/>
                    <a:pt x="157" y="228"/>
                    <a:pt x="144" y="228"/>
                  </a:cubicBezTo>
                  <a:cubicBezTo>
                    <a:pt x="133" y="228"/>
                    <a:pt x="124" y="235"/>
                    <a:pt x="121" y="245"/>
                  </a:cubicBezTo>
                  <a:cubicBezTo>
                    <a:pt x="121" y="307"/>
                    <a:pt x="121" y="307"/>
                    <a:pt x="121" y="307"/>
                  </a:cubicBezTo>
                  <a:cubicBezTo>
                    <a:pt x="103" y="307"/>
                    <a:pt x="103" y="307"/>
                    <a:pt x="103" y="307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21" y="214"/>
                    <a:pt x="121" y="214"/>
                    <a:pt x="121" y="214"/>
                  </a:cubicBezTo>
                  <a:cubicBezTo>
                    <a:pt x="121" y="227"/>
                    <a:pt x="121" y="227"/>
                    <a:pt x="121" y="227"/>
                  </a:cubicBezTo>
                  <a:cubicBezTo>
                    <a:pt x="126" y="219"/>
                    <a:pt x="136" y="212"/>
                    <a:pt x="149" y="212"/>
                  </a:cubicBezTo>
                  <a:close/>
                  <a:moveTo>
                    <a:pt x="228" y="214"/>
                  </a:moveTo>
                  <a:cubicBezTo>
                    <a:pt x="252" y="214"/>
                    <a:pt x="252" y="214"/>
                    <a:pt x="252" y="214"/>
                  </a:cubicBezTo>
                  <a:cubicBezTo>
                    <a:pt x="252" y="229"/>
                    <a:pt x="252" y="229"/>
                    <a:pt x="252" y="229"/>
                  </a:cubicBezTo>
                  <a:cubicBezTo>
                    <a:pt x="228" y="229"/>
                    <a:pt x="228" y="229"/>
                    <a:pt x="228" y="229"/>
                  </a:cubicBezTo>
                  <a:cubicBezTo>
                    <a:pt x="228" y="279"/>
                    <a:pt x="228" y="279"/>
                    <a:pt x="228" y="279"/>
                  </a:cubicBezTo>
                  <a:cubicBezTo>
                    <a:pt x="228" y="289"/>
                    <a:pt x="234" y="293"/>
                    <a:pt x="243" y="293"/>
                  </a:cubicBezTo>
                  <a:cubicBezTo>
                    <a:pt x="246" y="293"/>
                    <a:pt x="249" y="293"/>
                    <a:pt x="251" y="292"/>
                  </a:cubicBezTo>
                  <a:cubicBezTo>
                    <a:pt x="252" y="292"/>
                    <a:pt x="252" y="292"/>
                    <a:pt x="252" y="292"/>
                  </a:cubicBezTo>
                  <a:cubicBezTo>
                    <a:pt x="252" y="307"/>
                    <a:pt x="252" y="307"/>
                    <a:pt x="252" y="307"/>
                  </a:cubicBezTo>
                  <a:cubicBezTo>
                    <a:pt x="249" y="308"/>
                    <a:pt x="246" y="309"/>
                    <a:pt x="241" y="309"/>
                  </a:cubicBezTo>
                  <a:cubicBezTo>
                    <a:pt x="219" y="309"/>
                    <a:pt x="211" y="299"/>
                    <a:pt x="211" y="281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195" y="229"/>
                    <a:pt x="195" y="229"/>
                    <a:pt x="195" y="229"/>
                  </a:cubicBezTo>
                  <a:cubicBezTo>
                    <a:pt x="195" y="214"/>
                    <a:pt x="195" y="214"/>
                    <a:pt x="195" y="214"/>
                  </a:cubicBezTo>
                  <a:cubicBezTo>
                    <a:pt x="211" y="214"/>
                    <a:pt x="211" y="214"/>
                    <a:pt x="211" y="214"/>
                  </a:cubicBezTo>
                  <a:cubicBezTo>
                    <a:pt x="211" y="189"/>
                    <a:pt x="211" y="189"/>
                    <a:pt x="211" y="189"/>
                  </a:cubicBezTo>
                  <a:cubicBezTo>
                    <a:pt x="228" y="189"/>
                    <a:pt x="228" y="189"/>
                    <a:pt x="228" y="189"/>
                  </a:cubicBezTo>
                  <a:lnTo>
                    <a:pt x="228" y="214"/>
                  </a:lnTo>
                  <a:close/>
                  <a:moveTo>
                    <a:pt x="309" y="309"/>
                  </a:moveTo>
                  <a:cubicBezTo>
                    <a:pt x="282" y="309"/>
                    <a:pt x="263" y="290"/>
                    <a:pt x="263" y="261"/>
                  </a:cubicBezTo>
                  <a:cubicBezTo>
                    <a:pt x="263" y="232"/>
                    <a:pt x="280" y="212"/>
                    <a:pt x="305" y="212"/>
                  </a:cubicBezTo>
                  <a:cubicBezTo>
                    <a:pt x="331" y="212"/>
                    <a:pt x="344" y="230"/>
                    <a:pt x="344" y="258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281" y="266"/>
                    <a:pt x="281" y="266"/>
                    <a:pt x="281" y="266"/>
                  </a:cubicBezTo>
                  <a:cubicBezTo>
                    <a:pt x="282" y="284"/>
                    <a:pt x="295" y="293"/>
                    <a:pt x="311" y="293"/>
                  </a:cubicBezTo>
                  <a:cubicBezTo>
                    <a:pt x="321" y="293"/>
                    <a:pt x="329" y="291"/>
                    <a:pt x="337" y="285"/>
                  </a:cubicBezTo>
                  <a:cubicBezTo>
                    <a:pt x="338" y="285"/>
                    <a:pt x="338" y="285"/>
                    <a:pt x="338" y="285"/>
                  </a:cubicBezTo>
                  <a:cubicBezTo>
                    <a:pt x="338" y="300"/>
                    <a:pt x="338" y="300"/>
                    <a:pt x="338" y="300"/>
                  </a:cubicBezTo>
                  <a:cubicBezTo>
                    <a:pt x="330" y="306"/>
                    <a:pt x="320" y="309"/>
                    <a:pt x="309" y="309"/>
                  </a:cubicBezTo>
                  <a:close/>
                  <a:moveTo>
                    <a:pt x="281" y="251"/>
                  </a:moveTo>
                  <a:cubicBezTo>
                    <a:pt x="327" y="251"/>
                    <a:pt x="327" y="251"/>
                    <a:pt x="327" y="251"/>
                  </a:cubicBezTo>
                  <a:cubicBezTo>
                    <a:pt x="327" y="237"/>
                    <a:pt x="320" y="227"/>
                    <a:pt x="306" y="227"/>
                  </a:cubicBezTo>
                  <a:cubicBezTo>
                    <a:pt x="292" y="227"/>
                    <a:pt x="284" y="237"/>
                    <a:pt x="281" y="251"/>
                  </a:cubicBezTo>
                  <a:close/>
                  <a:moveTo>
                    <a:pt x="382" y="228"/>
                  </a:moveTo>
                  <a:cubicBezTo>
                    <a:pt x="386" y="218"/>
                    <a:pt x="395" y="212"/>
                    <a:pt x="405" y="212"/>
                  </a:cubicBezTo>
                  <a:cubicBezTo>
                    <a:pt x="409" y="212"/>
                    <a:pt x="413" y="213"/>
                    <a:pt x="414" y="214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4" y="231"/>
                    <a:pt x="414" y="231"/>
                    <a:pt x="414" y="231"/>
                  </a:cubicBezTo>
                  <a:cubicBezTo>
                    <a:pt x="411" y="230"/>
                    <a:pt x="407" y="229"/>
                    <a:pt x="403" y="229"/>
                  </a:cubicBezTo>
                  <a:cubicBezTo>
                    <a:pt x="393" y="229"/>
                    <a:pt x="385" y="236"/>
                    <a:pt x="382" y="246"/>
                  </a:cubicBezTo>
                  <a:cubicBezTo>
                    <a:pt x="382" y="307"/>
                    <a:pt x="382" y="307"/>
                    <a:pt x="382" y="307"/>
                  </a:cubicBezTo>
                  <a:cubicBezTo>
                    <a:pt x="365" y="307"/>
                    <a:pt x="365" y="307"/>
                    <a:pt x="365" y="307"/>
                  </a:cubicBezTo>
                  <a:cubicBezTo>
                    <a:pt x="365" y="214"/>
                    <a:pt x="365" y="214"/>
                    <a:pt x="365" y="214"/>
                  </a:cubicBezTo>
                  <a:cubicBezTo>
                    <a:pt x="382" y="214"/>
                    <a:pt x="382" y="214"/>
                    <a:pt x="382" y="214"/>
                  </a:cubicBezTo>
                  <a:cubicBezTo>
                    <a:pt x="382" y="228"/>
                    <a:pt x="382" y="228"/>
                    <a:pt x="382" y="228"/>
                  </a:cubicBezTo>
                  <a:close/>
                  <a:moveTo>
                    <a:pt x="474" y="212"/>
                  </a:moveTo>
                  <a:cubicBezTo>
                    <a:pt x="502" y="212"/>
                    <a:pt x="516" y="235"/>
                    <a:pt x="516" y="260"/>
                  </a:cubicBezTo>
                  <a:cubicBezTo>
                    <a:pt x="516" y="286"/>
                    <a:pt x="502" y="309"/>
                    <a:pt x="474" y="309"/>
                  </a:cubicBezTo>
                  <a:cubicBezTo>
                    <a:pt x="463" y="309"/>
                    <a:pt x="453" y="303"/>
                    <a:pt x="448" y="296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30" y="342"/>
                    <a:pt x="430" y="342"/>
                    <a:pt x="430" y="342"/>
                  </a:cubicBezTo>
                  <a:cubicBezTo>
                    <a:pt x="430" y="214"/>
                    <a:pt x="430" y="214"/>
                    <a:pt x="430" y="214"/>
                  </a:cubicBezTo>
                  <a:cubicBezTo>
                    <a:pt x="448" y="214"/>
                    <a:pt x="448" y="214"/>
                    <a:pt x="448" y="214"/>
                  </a:cubicBezTo>
                  <a:cubicBezTo>
                    <a:pt x="448" y="224"/>
                    <a:pt x="448" y="224"/>
                    <a:pt x="448" y="224"/>
                  </a:cubicBezTo>
                  <a:cubicBezTo>
                    <a:pt x="453" y="218"/>
                    <a:pt x="463" y="212"/>
                    <a:pt x="474" y="212"/>
                  </a:cubicBezTo>
                  <a:close/>
                  <a:moveTo>
                    <a:pt x="471" y="293"/>
                  </a:moveTo>
                  <a:cubicBezTo>
                    <a:pt x="488" y="293"/>
                    <a:pt x="498" y="279"/>
                    <a:pt x="498" y="260"/>
                  </a:cubicBezTo>
                  <a:cubicBezTo>
                    <a:pt x="498" y="242"/>
                    <a:pt x="488" y="228"/>
                    <a:pt x="471" y="228"/>
                  </a:cubicBezTo>
                  <a:cubicBezTo>
                    <a:pt x="461" y="228"/>
                    <a:pt x="453" y="233"/>
                    <a:pt x="448" y="243"/>
                  </a:cubicBezTo>
                  <a:cubicBezTo>
                    <a:pt x="448" y="278"/>
                    <a:pt x="448" y="278"/>
                    <a:pt x="448" y="278"/>
                  </a:cubicBezTo>
                  <a:cubicBezTo>
                    <a:pt x="453" y="287"/>
                    <a:pt x="461" y="293"/>
                    <a:pt x="471" y="293"/>
                  </a:cubicBezTo>
                  <a:close/>
                  <a:moveTo>
                    <a:pt x="554" y="228"/>
                  </a:moveTo>
                  <a:cubicBezTo>
                    <a:pt x="558" y="218"/>
                    <a:pt x="567" y="212"/>
                    <a:pt x="577" y="212"/>
                  </a:cubicBezTo>
                  <a:cubicBezTo>
                    <a:pt x="581" y="212"/>
                    <a:pt x="585" y="213"/>
                    <a:pt x="587" y="214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6" y="231"/>
                    <a:pt x="586" y="231"/>
                    <a:pt x="586" y="231"/>
                  </a:cubicBezTo>
                  <a:cubicBezTo>
                    <a:pt x="583" y="230"/>
                    <a:pt x="579" y="229"/>
                    <a:pt x="575" y="229"/>
                  </a:cubicBezTo>
                  <a:cubicBezTo>
                    <a:pt x="565" y="229"/>
                    <a:pt x="557" y="236"/>
                    <a:pt x="554" y="246"/>
                  </a:cubicBezTo>
                  <a:cubicBezTo>
                    <a:pt x="554" y="307"/>
                    <a:pt x="554" y="307"/>
                    <a:pt x="554" y="307"/>
                  </a:cubicBezTo>
                  <a:cubicBezTo>
                    <a:pt x="537" y="307"/>
                    <a:pt x="537" y="307"/>
                    <a:pt x="537" y="307"/>
                  </a:cubicBezTo>
                  <a:cubicBezTo>
                    <a:pt x="537" y="214"/>
                    <a:pt x="537" y="214"/>
                    <a:pt x="537" y="214"/>
                  </a:cubicBezTo>
                  <a:cubicBezTo>
                    <a:pt x="554" y="214"/>
                    <a:pt x="554" y="214"/>
                    <a:pt x="554" y="214"/>
                  </a:cubicBezTo>
                  <a:cubicBezTo>
                    <a:pt x="554" y="228"/>
                    <a:pt x="554" y="228"/>
                    <a:pt x="554" y="228"/>
                  </a:cubicBezTo>
                  <a:close/>
                  <a:moveTo>
                    <a:pt x="612" y="176"/>
                  </a:moveTo>
                  <a:cubicBezTo>
                    <a:pt x="618" y="176"/>
                    <a:pt x="623" y="181"/>
                    <a:pt x="623" y="187"/>
                  </a:cubicBezTo>
                  <a:cubicBezTo>
                    <a:pt x="623" y="193"/>
                    <a:pt x="618" y="198"/>
                    <a:pt x="612" y="198"/>
                  </a:cubicBezTo>
                  <a:cubicBezTo>
                    <a:pt x="606" y="198"/>
                    <a:pt x="601" y="193"/>
                    <a:pt x="601" y="187"/>
                  </a:cubicBezTo>
                  <a:cubicBezTo>
                    <a:pt x="601" y="181"/>
                    <a:pt x="606" y="176"/>
                    <a:pt x="612" y="176"/>
                  </a:cubicBezTo>
                  <a:close/>
                  <a:moveTo>
                    <a:pt x="603" y="214"/>
                  </a:moveTo>
                  <a:cubicBezTo>
                    <a:pt x="621" y="214"/>
                    <a:pt x="621" y="214"/>
                    <a:pt x="621" y="214"/>
                  </a:cubicBezTo>
                  <a:cubicBezTo>
                    <a:pt x="621" y="307"/>
                    <a:pt x="621" y="307"/>
                    <a:pt x="621" y="307"/>
                  </a:cubicBezTo>
                  <a:cubicBezTo>
                    <a:pt x="603" y="307"/>
                    <a:pt x="603" y="307"/>
                    <a:pt x="603" y="307"/>
                  </a:cubicBezTo>
                  <a:lnTo>
                    <a:pt x="603" y="214"/>
                  </a:lnTo>
                  <a:close/>
                  <a:moveTo>
                    <a:pt x="683" y="252"/>
                  </a:moveTo>
                  <a:cubicBezTo>
                    <a:pt x="696" y="257"/>
                    <a:pt x="711" y="262"/>
                    <a:pt x="711" y="280"/>
                  </a:cubicBezTo>
                  <a:cubicBezTo>
                    <a:pt x="711" y="299"/>
                    <a:pt x="696" y="309"/>
                    <a:pt x="675" y="309"/>
                  </a:cubicBezTo>
                  <a:cubicBezTo>
                    <a:pt x="663" y="309"/>
                    <a:pt x="651" y="306"/>
                    <a:pt x="644" y="300"/>
                  </a:cubicBezTo>
                  <a:cubicBezTo>
                    <a:pt x="644" y="283"/>
                    <a:pt x="644" y="283"/>
                    <a:pt x="644" y="283"/>
                  </a:cubicBezTo>
                  <a:cubicBezTo>
                    <a:pt x="645" y="283"/>
                    <a:pt x="645" y="283"/>
                    <a:pt x="645" y="283"/>
                  </a:cubicBezTo>
                  <a:cubicBezTo>
                    <a:pt x="653" y="291"/>
                    <a:pt x="664" y="294"/>
                    <a:pt x="675" y="294"/>
                  </a:cubicBezTo>
                  <a:cubicBezTo>
                    <a:pt x="685" y="294"/>
                    <a:pt x="694" y="290"/>
                    <a:pt x="694" y="282"/>
                  </a:cubicBezTo>
                  <a:cubicBezTo>
                    <a:pt x="694" y="274"/>
                    <a:pt x="687" y="272"/>
                    <a:pt x="672" y="267"/>
                  </a:cubicBezTo>
                  <a:cubicBezTo>
                    <a:pt x="659" y="263"/>
                    <a:pt x="644" y="258"/>
                    <a:pt x="644" y="240"/>
                  </a:cubicBezTo>
                  <a:cubicBezTo>
                    <a:pt x="644" y="223"/>
                    <a:pt x="659" y="212"/>
                    <a:pt x="678" y="212"/>
                  </a:cubicBezTo>
                  <a:cubicBezTo>
                    <a:pt x="689" y="212"/>
                    <a:pt x="699" y="214"/>
                    <a:pt x="706" y="220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706" y="236"/>
                    <a:pt x="706" y="236"/>
                    <a:pt x="706" y="236"/>
                  </a:cubicBezTo>
                  <a:cubicBezTo>
                    <a:pt x="698" y="230"/>
                    <a:pt x="689" y="227"/>
                    <a:pt x="678" y="227"/>
                  </a:cubicBezTo>
                  <a:cubicBezTo>
                    <a:pt x="667" y="227"/>
                    <a:pt x="661" y="232"/>
                    <a:pt x="661" y="238"/>
                  </a:cubicBezTo>
                  <a:cubicBezTo>
                    <a:pt x="661" y="246"/>
                    <a:pt x="668" y="248"/>
                    <a:pt x="683" y="252"/>
                  </a:cubicBezTo>
                  <a:close/>
                  <a:moveTo>
                    <a:pt x="772" y="309"/>
                  </a:moveTo>
                  <a:cubicBezTo>
                    <a:pt x="745" y="309"/>
                    <a:pt x="726" y="290"/>
                    <a:pt x="726" y="261"/>
                  </a:cubicBezTo>
                  <a:cubicBezTo>
                    <a:pt x="726" y="232"/>
                    <a:pt x="744" y="212"/>
                    <a:pt x="769" y="212"/>
                  </a:cubicBezTo>
                  <a:cubicBezTo>
                    <a:pt x="794" y="212"/>
                    <a:pt x="807" y="230"/>
                    <a:pt x="807" y="258"/>
                  </a:cubicBezTo>
                  <a:cubicBezTo>
                    <a:pt x="807" y="266"/>
                    <a:pt x="807" y="266"/>
                    <a:pt x="807" y="266"/>
                  </a:cubicBezTo>
                  <a:cubicBezTo>
                    <a:pt x="744" y="266"/>
                    <a:pt x="744" y="266"/>
                    <a:pt x="744" y="266"/>
                  </a:cubicBezTo>
                  <a:cubicBezTo>
                    <a:pt x="746" y="284"/>
                    <a:pt x="758" y="293"/>
                    <a:pt x="774" y="293"/>
                  </a:cubicBezTo>
                  <a:cubicBezTo>
                    <a:pt x="785" y="293"/>
                    <a:pt x="792" y="291"/>
                    <a:pt x="800" y="285"/>
                  </a:cubicBezTo>
                  <a:cubicBezTo>
                    <a:pt x="801" y="285"/>
                    <a:pt x="801" y="285"/>
                    <a:pt x="801" y="285"/>
                  </a:cubicBezTo>
                  <a:cubicBezTo>
                    <a:pt x="801" y="300"/>
                    <a:pt x="801" y="300"/>
                    <a:pt x="801" y="300"/>
                  </a:cubicBezTo>
                  <a:cubicBezTo>
                    <a:pt x="793" y="306"/>
                    <a:pt x="783" y="309"/>
                    <a:pt x="772" y="309"/>
                  </a:cubicBezTo>
                  <a:close/>
                  <a:moveTo>
                    <a:pt x="744" y="251"/>
                  </a:moveTo>
                  <a:cubicBezTo>
                    <a:pt x="791" y="251"/>
                    <a:pt x="791" y="251"/>
                    <a:pt x="791" y="251"/>
                  </a:cubicBezTo>
                  <a:cubicBezTo>
                    <a:pt x="790" y="237"/>
                    <a:pt x="783" y="227"/>
                    <a:pt x="769" y="227"/>
                  </a:cubicBezTo>
                  <a:cubicBezTo>
                    <a:pt x="756" y="227"/>
                    <a:pt x="747" y="237"/>
                    <a:pt x="744" y="25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7549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  <p:sldLayoutId id="2147483731" r:id="rId25"/>
    <p:sldLayoutId id="2147483732" r:id="rId26"/>
    <p:sldLayoutId id="2147483733" r:id="rId27"/>
    <p:sldLayoutId id="2147483734" r:id="rId28"/>
    <p:sldLayoutId id="2147483735" r:id="rId29"/>
    <p:sldLayoutId id="2147483736" r:id="rId30"/>
    <p:sldLayoutId id="2147483737" r:id="rId31"/>
    <p:sldLayoutId id="2147483738" r:id="rId32"/>
    <p:sldLayoutId id="2147483739" r:id="rId33"/>
    <p:sldLayoutId id="2147483740" r:id="rId34"/>
    <p:sldLayoutId id="2147483741" r:id="rId35"/>
    <p:sldLayoutId id="2147483742" r:id="rId36"/>
    <p:sldLayoutId id="2147483743" r:id="rId37"/>
    <p:sldLayoutId id="2147483744" r:id="rId3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7160" indent="-137160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8610" indent="-137160" algn="l" defTabSz="685800" rtl="0" eaLnBrk="1" latinLnBrk="0" hangingPunct="1">
        <a:lnSpc>
          <a:spcPct val="9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1148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5151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8867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89154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65860" indent="-102870" algn="l" defTabSz="685800" rtl="0" eaLnBrk="1" latinLnBrk="0" hangingPunct="1">
        <a:lnSpc>
          <a:spcPct val="90000"/>
        </a:lnSpc>
        <a:spcBef>
          <a:spcPts val="450"/>
        </a:spcBef>
        <a:buClr>
          <a:schemeClr val="tx1"/>
        </a:buClr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40">
          <p15:clr>
            <a:srgbClr val="F26B43"/>
          </p15:clr>
        </p15:guide>
        <p15:guide id="2" pos="3840">
          <p15:clr>
            <a:srgbClr val="F26B43"/>
          </p15:clr>
        </p15:guide>
        <p15:guide id="3" pos="384">
          <p15:clr>
            <a:srgbClr val="F26B43"/>
          </p15:clr>
        </p15:guide>
        <p15:guide id="4" pos="7296">
          <p15:clr>
            <a:srgbClr val="F26B43"/>
          </p15:clr>
        </p15:guide>
        <p15:guide id="5" orient="horz" pos="9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400800"/>
            <a:ext cx="9144001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5"/>
            <a:ext cx="9144001" cy="659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286604"/>
            <a:ext cx="75438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59" y="1845734"/>
            <a:ext cx="7543801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22961" y="6459786"/>
            <a:ext cx="18542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96DFF08F-DC6B-4601-B491-B0F83F6DD2DA}" type="datetimeFigureOut">
              <a:rPr lang="en-US" dirty="0"/>
              <a:pPr/>
              <a:t>4/8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64639" y="6459786"/>
            <a:ext cx="361710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425344" y="6459786"/>
            <a:ext cx="98401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F0C2BE6C-F8ED-4B74-9A37-918EA6AA67AD}" type="slidenum">
              <a:rPr lang="en-US" smtClean="0"/>
              <a:t>‹N°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895149" y="1737845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148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jpe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1.jpe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21.jpeg"/><Relationship Id="rId11" Type="http://schemas.openxmlformats.org/officeDocument/2006/relationships/image" Target="../media/image26.png"/><Relationship Id="rId5" Type="http://schemas.openxmlformats.org/officeDocument/2006/relationships/image" Target="../media/image20.jpeg"/><Relationship Id="rId15" Type="http://schemas.openxmlformats.org/officeDocument/2006/relationships/image" Target="../media/image30.jpeg"/><Relationship Id="rId10" Type="http://schemas.openxmlformats.org/officeDocument/2006/relationships/image" Target="../media/image25.png"/><Relationship Id="rId4" Type="http://schemas.openxmlformats.org/officeDocument/2006/relationships/image" Target="../media/image19.jpeg"/><Relationship Id="rId9" Type="http://schemas.openxmlformats.org/officeDocument/2006/relationships/image" Target="../media/image24.png"/><Relationship Id="rId14" Type="http://schemas.openxmlformats.org/officeDocument/2006/relationships/image" Target="../media/image2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openxmlformats.org/officeDocument/2006/relationships/image" Target="../media/image15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8.xml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4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WordArt 4"/>
          <p:cNvSpPr>
            <a:spLocks noChangeArrowheads="1" noChangeShapeType="1" noTextEdit="1"/>
          </p:cNvSpPr>
          <p:nvPr/>
        </p:nvSpPr>
        <p:spPr bwMode="auto">
          <a:xfrm>
            <a:off x="914400" y="3276600"/>
            <a:ext cx="7391400" cy="9906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r>
              <a:rPr lang="en-US" sz="3600" b="1" kern="10" dirty="0">
                <a:ln w="22225">
                  <a:noFill/>
                  <a:prstDash val="solid"/>
                </a:ln>
                <a:solidFill>
                  <a:srgbClr val="00B050"/>
                </a:solidFill>
                <a:latin typeface="Comic Sans MS" panose="030F0702030302020204" pitchFamily="66" charset="0"/>
              </a:rPr>
              <a:t>Bienvenue au Tchad !</a:t>
            </a:r>
          </a:p>
        </p:txBody>
      </p:sp>
      <p:sp>
        <p:nvSpPr>
          <p:cNvPr id="8197" name="Text Box 5"/>
          <p:cNvSpPr txBox="1">
            <a:spLocks noChangeArrowheads="1"/>
          </p:cNvSpPr>
          <p:nvPr/>
        </p:nvSpPr>
        <p:spPr bwMode="auto">
          <a:xfrm>
            <a:off x="0" y="6332415"/>
            <a:ext cx="9144000" cy="46166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9933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2400" b="1" dirty="0">
                <a:solidFill>
                  <a:srgbClr val="FF9933"/>
                </a:solidFill>
                <a:latin typeface="Comic Sans MS" panose="030F0702030302020204" pitchFamily="66" charset="0"/>
              </a:rPr>
              <a:t>Nathalie Ndimangar Niget – Association </a:t>
            </a:r>
            <a:r>
              <a:rPr lang="fr-FR" altLang="en-US" sz="2400" b="1" dirty="0">
                <a:solidFill>
                  <a:srgbClr val="FF9933"/>
                </a:solidFill>
                <a:latin typeface="Comic Sans MS" panose="030F0702030302020204" pitchFamily="66" charset="0"/>
              </a:rPr>
              <a:t>Héritage</a:t>
            </a:r>
            <a:r>
              <a:rPr lang="en-US" altLang="en-US" sz="2400" b="1" dirty="0">
                <a:solidFill>
                  <a:srgbClr val="FF9933"/>
                </a:solidFill>
                <a:latin typeface="Comic Sans MS" panose="030F0702030302020204" pitchFamily="66" charset="0"/>
              </a:rPr>
              <a:t> Suisse </a:t>
            </a:r>
          </a:p>
        </p:txBody>
      </p:sp>
      <p:pic>
        <p:nvPicPr>
          <p:cNvPr id="10" name="Picture 4" descr="Image result for bienvenue au tchad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150" y="609600"/>
            <a:ext cx="8496300" cy="2022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3113" y="4904020"/>
            <a:ext cx="1703309" cy="113347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8682" y="4921849"/>
            <a:ext cx="1143000" cy="1143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1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1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9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8" name="Text Box 38"/>
          <p:cNvSpPr txBox="1">
            <a:spLocks noChangeArrowheads="1"/>
          </p:cNvSpPr>
          <p:nvPr/>
        </p:nvSpPr>
        <p:spPr bwMode="auto">
          <a:xfrm>
            <a:off x="76200" y="152400"/>
            <a:ext cx="8991600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4400" b="1" dirty="0">
                <a:solidFill>
                  <a:srgbClr val="00B050"/>
                </a:solidFill>
                <a:latin typeface="Comic Sans MS" panose="030F0702030302020204" pitchFamily="66" charset="0"/>
              </a:rPr>
              <a:t>Où est le Tchad ?</a:t>
            </a:r>
          </a:p>
        </p:txBody>
      </p:sp>
      <p:pic>
        <p:nvPicPr>
          <p:cNvPr id="5" name="Picture 2" descr="Description de l'image Chad (orthographic projection).svg.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0" y="1219200"/>
            <a:ext cx="4343400" cy="4343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59414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://www.xn--expatmosaque-rgb.fr/wp-content/uploads/2015/05/d%C3%A9couvrir-le-tchad-e1498771334419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0" y="1769395"/>
            <a:ext cx="6667500" cy="441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Image result for image de villages au tchad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40" y="1066800"/>
            <a:ext cx="7109573" cy="4741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N'Djamena, capitale du Tchad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341157"/>
            <a:ext cx="7874591" cy="4429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4" descr="Image result for champ d'arachide au tcha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2303" y="1179999"/>
            <a:ext cx="6793984" cy="4521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9" descr="Image result for image diversité culturelle au tchad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8255" y="1154120"/>
            <a:ext cx="7109573" cy="4861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www.xn--expatmosaque-rgb.fr/wp-content/uploads/2015/05/d%C3%A9couvrir-le-tchad.4-e1498772045734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2838" y="1128241"/>
            <a:ext cx="4880944" cy="3249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74" descr="Image result for image élevage au tchad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2756983"/>
            <a:ext cx="5029200" cy="3321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269" y="1179999"/>
            <a:ext cx="6594913" cy="3185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9612" y="2986828"/>
            <a:ext cx="4488517" cy="3206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7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70" y="1154120"/>
            <a:ext cx="6917512" cy="3683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72" descr="Image result for image écoliers  au tchad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9112" y="2662471"/>
            <a:ext cx="6104888" cy="3430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0" descr="Image result for belles images du tchad agricoles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5283" y="1685981"/>
            <a:ext cx="7328024" cy="4122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2" descr="Image result for belles images du tchad agricoles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3884" y="1154120"/>
            <a:ext cx="5549898" cy="3118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8" descr="Image result for champ de récolte au tchad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24" y="2733416"/>
            <a:ext cx="4387271" cy="26998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Box 38"/>
          <p:cNvSpPr txBox="1">
            <a:spLocks noChangeArrowheads="1"/>
          </p:cNvSpPr>
          <p:nvPr/>
        </p:nvSpPr>
        <p:spPr bwMode="auto">
          <a:xfrm>
            <a:off x="-315097" y="-15944"/>
            <a:ext cx="9890760" cy="144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4400" b="1" dirty="0">
                <a:solidFill>
                  <a:srgbClr val="00B050"/>
                </a:solidFill>
                <a:latin typeface="Comic Sans MS" panose="030F0702030302020204" pitchFamily="66" charset="0"/>
              </a:rPr>
              <a:t>Pays de contraste et de folklore</a:t>
            </a:r>
          </a:p>
        </p:txBody>
      </p:sp>
    </p:spTree>
    <p:extLst>
      <p:ext uri="{BB962C8B-B14F-4D97-AF65-F5344CB8AC3E}">
        <p14:creationId xmlns:p14="http://schemas.microsoft.com/office/powerpoint/2010/main" val="1057848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4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6000"/>
                            </p:stCondLst>
                            <p:childTnLst>
                              <p:par>
                                <p:cTn id="2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0"/>
                            </p:stCondLst>
                            <p:childTnLst>
                              <p:par>
                                <p:cTn id="30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2000"/>
                            </p:stCondLst>
                            <p:childTnLst>
                              <p:par>
                                <p:cTn id="3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4000"/>
                            </p:stCondLst>
                            <p:childTnLst>
                              <p:par>
                                <p:cTn id="44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6000"/>
                            </p:stCondLst>
                            <p:childTnLst>
                              <p:par>
                                <p:cTn id="4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8000"/>
                            </p:stCondLst>
                            <p:childTnLst>
                              <p:par>
                                <p:cTn id="5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20000"/>
                            </p:stCondLst>
                            <p:childTnLst>
                              <p:par>
                                <p:cTn id="59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2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2000"/>
                            </p:stCondLst>
                            <p:childTnLst>
                              <p:par>
                                <p:cTn id="6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4000"/>
                            </p:stCondLst>
                            <p:childTnLst>
                              <p:par>
                                <p:cTn id="70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6000"/>
                            </p:stCondLst>
                            <p:childTnLst>
                              <p:par>
                                <p:cTn id="7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8" name="Text Box 38"/>
          <p:cNvSpPr txBox="1">
            <a:spLocks noChangeArrowheads="1"/>
          </p:cNvSpPr>
          <p:nvPr/>
        </p:nvSpPr>
        <p:spPr bwMode="auto">
          <a:xfrm>
            <a:off x="76200" y="152400"/>
            <a:ext cx="8991600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4400" b="1" dirty="0">
                <a:solidFill>
                  <a:srgbClr val="00B050"/>
                </a:solidFill>
                <a:latin typeface="Comic Sans MS" panose="030F0702030302020204" pitchFamily="66" charset="0"/>
              </a:rPr>
              <a:t>Carte d’identité du pay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7219" y="1282536"/>
            <a:ext cx="1703309" cy="1133475"/>
          </a:xfrm>
          <a:prstGeom prst="rect">
            <a:avLst/>
          </a:prstGeom>
        </p:spPr>
      </p:pic>
      <p:pic>
        <p:nvPicPr>
          <p:cNvPr id="6" name="Picture 4" descr="Description de l'image Tchad carte.gif.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698" y="1295400"/>
            <a:ext cx="2133600" cy="4624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020528" y="1282536"/>
            <a:ext cx="5123472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Indépendance: 11 Août 1960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Superficie: 1 284 000 km2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Population: </a:t>
            </a:r>
            <a:r>
              <a:rPr lang="fr-FR" dirty="0"/>
              <a:t>15 162 044 habitants (2018)</a:t>
            </a:r>
            <a:r>
              <a:rPr lang="en-GB" dirty="0"/>
              <a:t>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dirty="0"/>
              <a:t>Taux d’alphabétisation: </a:t>
            </a:r>
            <a:r>
              <a:rPr lang="en-GB" dirty="0"/>
              <a:t>39,79 % (2016)</a:t>
            </a:r>
            <a:r>
              <a:rPr lang="fr-FR" dirty="0"/>
              <a:t> </a:t>
            </a: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Capitale: N'djamena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Superficie en eau: 1,9 %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PIB par habitant: </a:t>
            </a:r>
            <a:r>
              <a:rPr lang="en-GB" dirty="0"/>
              <a:t>730 $USD (2018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Monnaie: Franc CFA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dirty="0"/>
              <a:t>Ressources: pétrole, coton, sucre, bétail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dirty="0"/>
              <a:t>Langues: Français, Arabe, +150 dialect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dirty="0"/>
              <a:t>Religions: Islam, Christianisme, Animisme</a:t>
            </a: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3400" y="4790083"/>
            <a:ext cx="2094120" cy="117270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5600" y="4790083"/>
            <a:ext cx="2133600" cy="1165058"/>
          </a:xfrm>
          <a:prstGeom prst="rect">
            <a:avLst/>
          </a:prstGeom>
        </p:spPr>
      </p:pic>
      <p:pic>
        <p:nvPicPr>
          <p:cNvPr id="10" name="Picture 4" descr="Blaso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4402" y="2501736"/>
            <a:ext cx="1666126" cy="1454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Image result for bienvenue au tchad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242" y="4042067"/>
            <a:ext cx="1629961" cy="1889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08936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8" name="Text Box 38"/>
          <p:cNvSpPr txBox="1">
            <a:spLocks noChangeArrowheads="1"/>
          </p:cNvSpPr>
          <p:nvPr/>
        </p:nvSpPr>
        <p:spPr bwMode="auto">
          <a:xfrm>
            <a:off x="76200" y="152400"/>
            <a:ext cx="8991600" cy="144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4400" b="1" dirty="0">
                <a:solidFill>
                  <a:srgbClr val="00B050"/>
                </a:solidFill>
                <a:latin typeface="Comic Sans MS" panose="030F0702030302020204" pitchFamily="66" charset="0"/>
              </a:rPr>
              <a:t>Carte d’identité des Tchadiens et Tchadienn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62000" y="1905000"/>
            <a:ext cx="8148766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en-US" sz="4800" b="1" dirty="0">
                <a:solidFill>
                  <a:srgbClr val="00B050"/>
                </a:solidFill>
                <a:latin typeface="Comic Sans MS" panose="030F0702030302020204" pitchFamily="66" charset="0"/>
              </a:rPr>
              <a:t>T</a:t>
            </a:r>
            <a:r>
              <a:rPr lang="en-US" altLang="en-US" sz="3600" b="1" dirty="0">
                <a:latin typeface="Comic Sans MS" panose="030F0702030302020204" pitchFamily="66" charset="0"/>
              </a:rPr>
              <a:t>ravailleur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en-US" sz="4800" b="1" dirty="0">
                <a:solidFill>
                  <a:srgbClr val="00B050"/>
                </a:solidFill>
                <a:latin typeface="Comic Sans MS" panose="030F0702030302020204" pitchFamily="66" charset="0"/>
              </a:rPr>
              <a:t>C</a:t>
            </a:r>
            <a:r>
              <a:rPr lang="en-US" altLang="en-US" sz="3600" b="1" dirty="0">
                <a:latin typeface="Comic Sans MS" panose="030F0702030302020204" pitchFamily="66" charset="0"/>
              </a:rPr>
              <a:t>haleureux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en-US" sz="4800" b="1" dirty="0">
                <a:solidFill>
                  <a:srgbClr val="00B050"/>
                </a:solidFill>
                <a:latin typeface="Comic Sans MS" panose="030F0702030302020204" pitchFamily="66" charset="0"/>
              </a:rPr>
              <a:t>H</a:t>
            </a:r>
            <a:r>
              <a:rPr lang="en-US" altLang="en-US" sz="3600" b="1" dirty="0">
                <a:latin typeface="Comic Sans MS" panose="030F0702030302020204" pitchFamily="66" charset="0"/>
              </a:rPr>
              <a:t>onnête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en-US" sz="4800" b="1" dirty="0">
                <a:solidFill>
                  <a:srgbClr val="00B050"/>
                </a:solidFill>
                <a:latin typeface="Comic Sans MS" panose="030F0702030302020204" pitchFamily="66" charset="0"/>
              </a:rPr>
              <a:t>A</a:t>
            </a:r>
            <a:r>
              <a:rPr lang="en-US" altLang="en-US" sz="3600" b="1" dirty="0">
                <a:latin typeface="Comic Sans MS" panose="030F0702030302020204" pitchFamily="66" charset="0"/>
              </a:rPr>
              <a:t>ccueillant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altLang="en-US" sz="4800" b="1" dirty="0">
                <a:solidFill>
                  <a:srgbClr val="00B050"/>
                </a:solidFill>
                <a:latin typeface="Comic Sans MS" panose="030F0702030302020204" pitchFamily="66" charset="0"/>
              </a:rPr>
              <a:t>D</a:t>
            </a:r>
            <a:r>
              <a:rPr lang="en-US" altLang="en-US" sz="3600" b="1" dirty="0">
                <a:latin typeface="Comic Sans MS" panose="030F0702030302020204" pitchFamily="66" charset="0"/>
              </a:rPr>
              <a:t>ynamiques</a:t>
            </a: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7170" name="Picture 2" descr="Image result for image des tchadienn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0369" y="2133599"/>
            <a:ext cx="4370397" cy="3273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Image result for image des tchadienne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5776" y="2912480"/>
            <a:ext cx="4203053" cy="2101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s://upload.wikimedia.org/wikipedia/commons/e/e0/Tailor_in_Chad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4538" y="2093989"/>
            <a:ext cx="4470400" cy="335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8393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6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6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6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71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71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3100"/>
                            </p:stCondLst>
                            <p:childTnLst>
                              <p:par>
                                <p:cTn id="1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6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8" descr="© MAI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4589" y="2929592"/>
            <a:ext cx="4552950" cy="3177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398" name="Text Box 38"/>
          <p:cNvSpPr txBox="1">
            <a:spLocks noChangeArrowheads="1"/>
          </p:cNvSpPr>
          <p:nvPr/>
        </p:nvSpPr>
        <p:spPr bwMode="auto">
          <a:xfrm>
            <a:off x="76200" y="152400"/>
            <a:ext cx="8991600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4400" b="1" dirty="0">
                <a:solidFill>
                  <a:srgbClr val="00B050"/>
                </a:solidFill>
                <a:latin typeface="Comic Sans MS" panose="030F0702030302020204" pitchFamily="66" charset="0"/>
              </a:rPr>
              <a:t>Les grands défis du Tchad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1377017"/>
            <a:ext cx="4552950" cy="310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152400" y="3504912"/>
            <a:ext cx="89916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Agricultur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FR" sz="2000" dirty="0"/>
              <a:t>L’agriculture, l’élevage et la pêche occupent 80% de la population activ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FR" sz="2000" dirty="0"/>
              <a:t>L’agriculture de subsistance avec le sorgho, le mil, l’arachide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FR" sz="2000" dirty="0"/>
              <a:t>Le coton, la canne à sucre, la gomme arabique et le tabac sont cultivés à des fins de rente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FR" sz="2000" dirty="0"/>
              <a:t>L’agriculture est confrontée à des défis climatiques, techniques, naturels, structurels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2400" y="990600"/>
            <a:ext cx="89916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Éducation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FR" sz="2000" dirty="0"/>
              <a:t>Baisse du niveau scolaire 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fr-FR" sz="2000" dirty="0"/>
              <a:t>Causes sont multiples: 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fr-FR" sz="2000" dirty="0"/>
              <a:t>manque d’ infrastructures parascolaires 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fr-FR" sz="2000" dirty="0"/>
              <a:t>manque d’ instituteurs de qualité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en-GB" sz="2000" dirty="0"/>
              <a:t>manque d’outils pédagogiques adéquats </a:t>
            </a: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11449742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"/>
                                            </p:cond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30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3000" fill="hold"/>
                                        <p:tgtEl>
                                          <p:spTgt spid="20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3000" fill="hold"/>
                                        <p:tgtEl>
                                          <p:spTgt spid="20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16"/>
                                            </p:cond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6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6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8" name="Text Box 38"/>
          <p:cNvSpPr txBox="1">
            <a:spLocks noChangeArrowheads="1"/>
          </p:cNvSpPr>
          <p:nvPr/>
        </p:nvSpPr>
        <p:spPr bwMode="auto">
          <a:xfrm>
            <a:off x="76200" y="152400"/>
            <a:ext cx="8991600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4400" b="1" dirty="0">
                <a:solidFill>
                  <a:srgbClr val="00B050"/>
                </a:solidFill>
                <a:latin typeface="Comic Sans MS" panose="030F0702030302020204" pitchFamily="66" charset="0"/>
              </a:rPr>
              <a:t>Association Héritage Suis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600" y="1717944"/>
            <a:ext cx="1511503" cy="150478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2534" y="1683564"/>
            <a:ext cx="967362" cy="1524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5441" y="1907096"/>
            <a:ext cx="1552108" cy="994233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28600" y="3292178"/>
            <a:ext cx="8991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Deux grands axes de development, d’échanges et de solidarité: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4191000"/>
            <a:ext cx="3276600" cy="2120740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1600200" y="3828297"/>
            <a:ext cx="12105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fr-FR" dirty="0"/>
              <a:t>Education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4126607"/>
            <a:ext cx="3200400" cy="2202608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6324600" y="3809583"/>
            <a:ext cx="12875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fr-FR" dirty="0"/>
              <a:t>Agricul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8428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8" name="Text Box 38"/>
          <p:cNvSpPr txBox="1">
            <a:spLocks noChangeArrowheads="1"/>
          </p:cNvSpPr>
          <p:nvPr/>
        </p:nvSpPr>
        <p:spPr bwMode="auto">
          <a:xfrm>
            <a:off x="76200" y="152400"/>
            <a:ext cx="8991600" cy="57554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en-US" sz="4400" b="1" dirty="0">
                <a:solidFill>
                  <a:srgbClr val="00B050"/>
                </a:solidFill>
                <a:latin typeface="Comic Sans MS" panose="030F0702030302020204" pitchFamily="66" charset="0"/>
              </a:rPr>
              <a:t>Merci !!!</a:t>
            </a:r>
          </a:p>
          <a:p>
            <a:pPr>
              <a:spcBef>
                <a:spcPct val="50000"/>
              </a:spcBef>
            </a:pPr>
            <a:endParaRPr lang="en-US" altLang="en-US" sz="4400" b="1" dirty="0">
              <a:solidFill>
                <a:srgbClr val="00B050"/>
              </a:solidFill>
              <a:latin typeface="Comic Sans MS" panose="030F0702030302020204" pitchFamily="66" charset="0"/>
            </a:endParaRPr>
          </a:p>
          <a:p>
            <a:pPr>
              <a:spcBef>
                <a:spcPct val="50000"/>
              </a:spcBef>
            </a:pPr>
            <a:endParaRPr lang="en-US" altLang="en-US" sz="4400" b="1" dirty="0">
              <a:solidFill>
                <a:srgbClr val="00B050"/>
              </a:solidFill>
              <a:latin typeface="Comic Sans MS" panose="030F0702030302020204" pitchFamily="66" charset="0"/>
            </a:endParaRPr>
          </a:p>
          <a:p>
            <a:pPr>
              <a:spcBef>
                <a:spcPct val="50000"/>
              </a:spcBef>
            </a:pPr>
            <a:endParaRPr lang="en-US" altLang="en-US" sz="4400" b="1" dirty="0">
              <a:solidFill>
                <a:srgbClr val="00B050"/>
              </a:solidFill>
              <a:latin typeface="Comic Sans MS" panose="030F0702030302020204" pitchFamily="66" charset="0"/>
            </a:endParaRPr>
          </a:p>
          <a:p>
            <a:pPr>
              <a:spcBef>
                <a:spcPct val="50000"/>
              </a:spcBef>
            </a:pPr>
            <a:endParaRPr lang="en-US" altLang="en-US" sz="4400" b="1" dirty="0">
              <a:solidFill>
                <a:srgbClr val="00B050"/>
              </a:solidFill>
              <a:latin typeface="Comic Sans MS" panose="030F0702030302020204" pitchFamily="66" charset="0"/>
            </a:endParaRPr>
          </a:p>
          <a:p>
            <a:pPr>
              <a:spcBef>
                <a:spcPct val="50000"/>
              </a:spcBef>
            </a:pPr>
            <a:r>
              <a:rPr lang="en-US" altLang="en-US" sz="3600" b="1" dirty="0">
                <a:solidFill>
                  <a:srgbClr val="00B050"/>
                </a:solidFill>
                <a:latin typeface="Comic Sans MS" panose="030F0702030302020204" pitchFamily="66" charset="0"/>
              </a:rPr>
              <a:t>Contact: info@heritage-chtd.com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1232172"/>
            <a:ext cx="5029200" cy="3595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114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PE NEW 2019">
  <a:themeElements>
    <a:clrScheme name="HPE Spring 2019">
      <a:dk1>
        <a:sysClr val="windowText" lastClr="000000"/>
      </a:dk1>
      <a:lt1>
        <a:sysClr val="window" lastClr="FFFFFF"/>
      </a:lt1>
      <a:dk2>
        <a:srgbClr val="C6C6C2"/>
      </a:dk2>
      <a:lt2>
        <a:srgbClr val="787871"/>
      </a:lt2>
      <a:accent1>
        <a:srgbClr val="0D5265"/>
      </a:accent1>
      <a:accent2>
        <a:srgbClr val="7FF9E2"/>
      </a:accent2>
      <a:accent3>
        <a:srgbClr val="7630EA"/>
      </a:accent3>
      <a:accent4>
        <a:srgbClr val="C140FF"/>
      </a:accent4>
      <a:accent5>
        <a:srgbClr val="FF8300"/>
      </a:accent5>
      <a:accent6>
        <a:srgbClr val="FEC901"/>
      </a:accent6>
      <a:hlink>
        <a:srgbClr val="01A982"/>
      </a:hlink>
      <a:folHlink>
        <a:srgbClr val="01A982"/>
      </a:folHlink>
    </a:clrScheme>
    <a:fontScheme name="HPE Standard">
      <a:majorFont>
        <a:latin typeface="MetricHPE Semibold"/>
        <a:ea typeface=""/>
        <a:cs typeface=""/>
      </a:majorFont>
      <a:minorFont>
        <a:latin typeface="MetricHP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noFill/>
        <a:ln w="19050">
          <a:solidFill>
            <a:schemeClr val="tx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57150">
          <a:noFill/>
          <a:miter lim="800000"/>
        </a:ln>
      </a:spPr>
      <a:bodyPr wrap="square" lIns="182880" tIns="182880" rIns="182880" bIns="182880" rtlCol="0">
        <a:spAutoFit/>
      </a:bodyPr>
      <a:lstStyle>
        <a:defPPr algn="l">
          <a:lnSpc>
            <a:spcPct val="90000"/>
          </a:lnSpc>
          <a:spcBef>
            <a:spcPts val="400"/>
          </a:spcBef>
          <a:defRPr dirty="0" err="1" smtClean="0"/>
        </a:defPPr>
      </a:lstStyle>
    </a:txDef>
  </a:objectDefaults>
  <a:extraClrSchemeLst/>
  <a:custClrLst>
    <a:custClr name="HPE Green">
      <a:srgbClr val="01A982"/>
    </a:custClr>
    <a:custClr name="Medium Blue">
      <a:srgbClr val="32DAC8"/>
    </a:custClr>
    <a:custClr name="Light Gray">
      <a:srgbClr val="C6C9CA"/>
    </a:custClr>
    <a:custClr name="Dark Gray">
      <a:srgbClr val="808285"/>
    </a:custClr>
  </a:custClrLst>
  <a:extLst>
    <a:ext uri="{05A4C25C-085E-4340-85A3-A5531E510DB2}">
      <thm15:themeFamily xmlns:thm15="http://schemas.microsoft.com/office/thememl/2012/main" name="HPE NEW 2019" id="{9D16BB6D-C700-4E54-ADBB-952F654585B1}" vid="{32824220-AC1C-44A2-90F9-5C7E15680DC2}"/>
    </a:ext>
  </a:extLst>
</a:theme>
</file>

<file path=ppt/theme/theme2.xml><?xml version="1.0" encoding="utf-8"?>
<a:theme xmlns:a="http://schemas.openxmlformats.org/drawingml/2006/main" name="HPE_Standard_Arial_16x9_v5">
  <a:themeElements>
    <a:clrScheme name="HPE">
      <a:dk1>
        <a:sysClr val="windowText" lastClr="000000"/>
      </a:dk1>
      <a:lt1>
        <a:sysClr val="window" lastClr="FFFFFF"/>
      </a:lt1>
      <a:dk2>
        <a:srgbClr val="808285"/>
      </a:dk2>
      <a:lt2>
        <a:srgbClr val="C6C9CA"/>
      </a:lt2>
      <a:accent1>
        <a:srgbClr val="2AD2C9"/>
      </a:accent1>
      <a:accent2>
        <a:srgbClr val="614767"/>
      </a:accent2>
      <a:accent3>
        <a:srgbClr val="FF8D6D"/>
      </a:accent3>
      <a:accent4>
        <a:srgbClr val="5F7A76"/>
      </a:accent4>
      <a:accent5>
        <a:srgbClr val="C6C9CA"/>
      </a:accent5>
      <a:accent6>
        <a:srgbClr val="808285"/>
      </a:accent6>
      <a:hlink>
        <a:srgbClr val="01A982"/>
      </a:hlink>
      <a:folHlink>
        <a:srgbClr val="01A98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accent6"/>
        </a:solidFill>
        <a:ln w="19050">
          <a:solidFill>
            <a:schemeClr val="accent6"/>
          </a:solidFill>
        </a:ln>
      </a:spPr>
      <a:bodyPr rtlCol="0" anchor="ctr"/>
      <a:lstStyle>
        <a:defPPr algn="ctr">
          <a:lnSpc>
            <a:spcPct val="90000"/>
          </a:lnSpc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/>
        </a:defPPr>
      </a:lstStyle>
    </a:txDef>
  </a:objectDefaults>
  <a:extraClrSchemeLst/>
  <a:custClrLst>
    <a:custClr name="1|169|130">
      <a:srgbClr val="01A982"/>
    </a:custClr>
    <a:custClr name="128|116|110">
      <a:srgbClr val="80746E"/>
    </a:custClr>
    <a:custClr name="66|85|99">
      <a:srgbClr val="425563"/>
    </a:custClr>
  </a:custClrLst>
  <a:extLst>
    <a:ext uri="{05A4C25C-085E-4340-85A3-A5531E510DB2}">
      <thm15:themeFamily xmlns:thm15="http://schemas.microsoft.com/office/thememl/2012/main" name="HPE_Standard_Arial_16x9_v5.potx" id="{6E765CE8-72DF-47CC-8CE6-E2F106A29740}" vid="{F1B02632-9815-49C8-944D-886AB684271D}"/>
    </a:ext>
  </a:extLst>
</a:theme>
</file>

<file path=ppt/theme/theme3.xml><?xml version="1.0" encoding="utf-8"?>
<a:theme xmlns:a="http://schemas.openxmlformats.org/drawingml/2006/main" name="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PE NEW 2019</Template>
  <TotalTime>0</TotalTime>
  <Words>401</Words>
  <Application>Microsoft Office PowerPoint</Application>
  <PresentationFormat>Affichage à l'écran (4:3)</PresentationFormat>
  <Paragraphs>57</Paragraphs>
  <Slides>8</Slides>
  <Notes>6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3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9" baseType="lpstr">
      <vt:lpstr>Comic Sans MS</vt:lpstr>
      <vt:lpstr>Calibri Light</vt:lpstr>
      <vt:lpstr>MetricHPE Light</vt:lpstr>
      <vt:lpstr>MetricHPE Semibold</vt:lpstr>
      <vt:lpstr>Arial</vt:lpstr>
      <vt:lpstr>MetricHPE Black</vt:lpstr>
      <vt:lpstr>Calibri</vt:lpstr>
      <vt:lpstr>HPE NEW 2019</vt:lpstr>
      <vt:lpstr>HPE_Standard_Arial_16x9_v5</vt:lpstr>
      <vt:lpstr>Retrospect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CCS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abien.niget@hpe.com</dc:creator>
  <cp:lastModifiedBy>Madjibey MIQUEL</cp:lastModifiedBy>
  <cp:revision>136</cp:revision>
  <dcterms:created xsi:type="dcterms:W3CDTF">2004-09-21T15:46:07Z</dcterms:created>
  <dcterms:modified xsi:type="dcterms:W3CDTF">2020-04-08T15:41:47Z</dcterms:modified>
</cp:coreProperties>
</file>